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30.xml" ContentType="application/vnd.openxmlformats-officedocument.presentationml.tags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notesSlides/notesSlide27.xml" ContentType="application/vnd.openxmlformats-officedocument.presentationml.notesSlide+xml"/>
  <Override PartName="/ppt/tags/tag3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tags/tag35.xml" ContentType="application/vnd.openxmlformats-officedocument.presentationml.tags+xml"/>
  <Override PartName="/ppt/notesSlides/notesSlide32.xml" ContentType="application/vnd.openxmlformats-officedocument.presentationml.notesSlide+xml"/>
  <Override PartName="/ppt/tags/tag36.xml" ContentType="application/vnd.openxmlformats-officedocument.presentationml.tags+xml"/>
  <Override PartName="/ppt/notesSlides/notesSlide33.xml" ContentType="application/vnd.openxmlformats-officedocument.presentationml.notesSlide+xml"/>
  <Override PartName="/ppt/tags/tag37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media/image114.jpg" ContentType="image/jpeg"/>
  <Override PartName="/ppt/media/image115.jpg" ContentType="image/jpeg"/>
  <Override PartName="/ppt/notesSlides/notesSlide37.xml" ContentType="application/vnd.openxmlformats-officedocument.presentationml.notesSlide+xml"/>
  <Override PartName="/ppt/tags/tag38.xml" ContentType="application/vnd.openxmlformats-officedocument.presentationml.tags+xml"/>
  <Override PartName="/ppt/notesSlides/notesSlide3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1276" r:id="rId2"/>
    <p:sldId id="1126" r:id="rId3"/>
    <p:sldId id="1266" r:id="rId4"/>
    <p:sldId id="1218" r:id="rId5"/>
    <p:sldId id="1275" r:id="rId6"/>
    <p:sldId id="1221" r:id="rId7"/>
    <p:sldId id="1222" r:id="rId8"/>
    <p:sldId id="1267" r:id="rId9"/>
    <p:sldId id="1223" r:id="rId10"/>
    <p:sldId id="1226" r:id="rId11"/>
    <p:sldId id="1227" r:id="rId12"/>
    <p:sldId id="1245" r:id="rId13"/>
    <p:sldId id="1265" r:id="rId14"/>
    <p:sldId id="1247" r:id="rId15"/>
    <p:sldId id="1244" r:id="rId16"/>
    <p:sldId id="1248" r:id="rId17"/>
    <p:sldId id="1249" r:id="rId18"/>
    <p:sldId id="1250" r:id="rId19"/>
    <p:sldId id="1253" r:id="rId20"/>
    <p:sldId id="1254" r:id="rId21"/>
    <p:sldId id="1255" r:id="rId22"/>
    <p:sldId id="1256" r:id="rId23"/>
    <p:sldId id="1257" r:id="rId24"/>
    <p:sldId id="1260" r:id="rId25"/>
    <p:sldId id="1274" r:id="rId26"/>
    <p:sldId id="1261" r:id="rId27"/>
    <p:sldId id="1263" r:id="rId28"/>
    <p:sldId id="1262" r:id="rId29"/>
    <p:sldId id="1273" r:id="rId30"/>
    <p:sldId id="1264" r:id="rId31"/>
    <p:sldId id="1268" r:id="rId32"/>
    <p:sldId id="1269" r:id="rId33"/>
    <p:sldId id="1270" r:id="rId34"/>
    <p:sldId id="1251" r:id="rId35"/>
    <p:sldId id="1271" r:id="rId36"/>
    <p:sldId id="1272" r:id="rId37"/>
    <p:sldId id="1132" r:id="rId38"/>
    <p:sldId id="1278" r:id="rId39"/>
    <p:sldId id="1277" r:id="rId40"/>
  </p:sldIdLst>
  <p:sldSz cx="12192000" cy="6858000"/>
  <p:notesSz cx="6797675" cy="9926638"/>
  <p:custDataLst>
    <p:tags r:id="rId4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15" autoAdjust="0"/>
    <p:restoredTop sz="52842" autoAdjust="0"/>
  </p:normalViewPr>
  <p:slideViewPr>
    <p:cSldViewPr snapToGrid="0">
      <p:cViewPr>
        <p:scale>
          <a:sx n="56" d="100"/>
          <a:sy n="56" d="100"/>
        </p:scale>
        <p:origin x="-1478" y="374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55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05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55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5659" cy="498057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3"/>
            <a:ext cx="2945659" cy="498057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05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77195"/>
            <a:ext cx="5438140" cy="3908613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417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5" y="0"/>
            <a:ext cx="2923630" cy="539417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/>
            <a:endParaRPr lang="ru-RU" altLang="ru-RU" dirty="0" smtClean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473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b="0" baseline="0" dirty="0"/>
          </a:p>
        </p:txBody>
      </p:sp>
    </p:spTree>
    <p:extLst>
      <p:ext uri="{BB962C8B-B14F-4D97-AF65-F5344CB8AC3E}">
        <p14:creationId xmlns:p14="http://schemas.microsoft.com/office/powerpoint/2010/main" val="201081293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55965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55965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931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01B015BF-C5BC-40E1-BF95-368142EE1EFD}" type="slidenum">
              <a:rPr lang="ru-RU" altLang="ru-RU" smtClean="0"/>
              <a:pPr/>
              <a:t>3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484321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47239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417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5" y="0"/>
            <a:ext cx="2923630" cy="539417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0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x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Линия"/>
          <p:cNvSpPr/>
          <p:nvPr/>
        </p:nvSpPr>
        <p:spPr bwMode="auto"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5" name="Линия"/>
          <p:cNvSpPr/>
          <p:nvPr/>
        </p:nvSpPr>
        <p:spPr bwMode="auto"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6" name="Линия"/>
          <p:cNvSpPr/>
          <p:nvPr/>
        </p:nvSpPr>
        <p:spPr bwMode="auto"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7" name="Линия"/>
          <p:cNvSpPr/>
          <p:nvPr/>
        </p:nvSpPr>
        <p:spPr bwMode="auto"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8" name="Прямоугольник"/>
          <p:cNvSpPr/>
          <p:nvPr/>
        </p:nvSpPr>
        <p:spPr bwMode="auto">
          <a:xfrm>
            <a:off x="-1390" y="-5954"/>
            <a:ext cx="12194779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9" name="Прямоугольник"/>
          <p:cNvSpPr/>
          <p:nvPr/>
        </p:nvSpPr>
        <p:spPr bwMode="auto">
          <a:xfrm>
            <a:off x="-1389" y="6546820"/>
            <a:ext cx="12194779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10" name="pasted-image.tiff" descr="pasted-image.tiff"/>
          <p:cNvPicPr>
            <a:picLocks noChangeAspect="1"/>
          </p:cNvPicPr>
          <p:nvPr/>
        </p:nvPicPr>
        <p:blipFill>
          <a:blip r:embed="rId2"/>
          <a:srcRect l="39743" r="39743" b="36077"/>
          <a:stretch/>
        </p:blipFill>
        <p:spPr bwMode="auto">
          <a:xfrm>
            <a:off x="11386742" y="476085"/>
            <a:ext cx="523744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Номер слайда"/>
          <p:cNvSpPr>
            <a:spLocks noGrp="1"/>
          </p:cNvSpPr>
          <p:nvPr>
            <p:ph type="sldNum" sz="quarter" idx="2"/>
          </p:nvPr>
        </p:nvSpPr>
        <p:spPr bwMode="auto"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2014558"/>
      </p:ext>
    </p:extLst>
  </p:cSld>
  <p:clrMapOvr>
    <a:masterClrMapping/>
  </p:clrMapOvr>
  <p:hf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" r="14490"/>
          <a:stretch>
            <a:fillRect/>
          </a:stretch>
        </p:blipFill>
        <p:spPr bwMode="auto">
          <a:xfrm>
            <a:off x="-9049" y="6063204"/>
            <a:ext cx="12192001" cy="794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1" y="54715"/>
            <a:ext cx="2217220" cy="6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Заголовок 1"/>
          <p:cNvSpPr txBox="1">
            <a:spLocks/>
          </p:cNvSpPr>
          <p:nvPr userDrawn="1"/>
        </p:nvSpPr>
        <p:spPr>
          <a:xfrm>
            <a:off x="266069" y="751602"/>
            <a:ext cx="2300479" cy="260613"/>
          </a:xfrm>
          <a:prstGeom prst="rect">
            <a:avLst/>
          </a:prstGeom>
        </p:spPr>
        <p:txBody>
          <a:bodyPr lIns="71115" tIns="35558" rIns="71115" bIns="35558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889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Начальное образование</a:t>
            </a:r>
          </a:p>
        </p:txBody>
      </p:sp>
      <p:pic>
        <p:nvPicPr>
          <p:cNvPr id="5" name="Рисунок 2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088" y="228938"/>
            <a:ext cx="546613" cy="228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10"/>
          <p:cNvGrpSpPr>
            <a:grpSpLocks/>
          </p:cNvGrpSpPr>
          <p:nvPr userDrawn="1"/>
        </p:nvGrpSpPr>
        <p:grpSpPr bwMode="auto">
          <a:xfrm>
            <a:off x="10930449" y="200140"/>
            <a:ext cx="1261553" cy="485229"/>
            <a:chOff x="9586913" y="190004"/>
            <a:chExt cx="1106487" cy="535310"/>
          </a:xfrm>
        </p:grpSpPr>
        <p:pic>
          <p:nvPicPr>
            <p:cNvPr id="7" name="Рисунок 48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46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92268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49728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" name="Слайд think-cell" r:id="rId19" imgW="359" imgH="360" progId="TCLayout.ActiveDocument.1">
                  <p:embed/>
                </p:oleObj>
              </mc:Choice>
              <mc:Fallback>
                <p:oleObj name="Слайд think-cell" r:id="rId19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0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52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61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67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6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1.jp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76.png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1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2.png"/><Relationship Id="rId18" Type="http://schemas.openxmlformats.org/officeDocument/2006/relationships/image" Target="../media/image97.png"/><Relationship Id="rId3" Type="http://schemas.openxmlformats.org/officeDocument/2006/relationships/image" Target="../media/image68.emf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17" Type="http://schemas.openxmlformats.org/officeDocument/2006/relationships/image" Target="../media/image96.png"/><Relationship Id="rId2" Type="http://schemas.openxmlformats.org/officeDocument/2006/relationships/notesSlide" Target="../notesSlides/notesSlide35.xml"/><Relationship Id="rId16" Type="http://schemas.openxmlformats.org/officeDocument/2006/relationships/image" Target="../media/image95.png"/><Relationship Id="rId20" Type="http://schemas.openxmlformats.org/officeDocument/2006/relationships/image" Target="../media/image9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5.jpeg"/><Relationship Id="rId11" Type="http://schemas.openxmlformats.org/officeDocument/2006/relationships/image" Target="../media/image90.png"/><Relationship Id="rId5" Type="http://schemas.openxmlformats.org/officeDocument/2006/relationships/image" Target="../media/image84.jpeg"/><Relationship Id="rId15" Type="http://schemas.openxmlformats.org/officeDocument/2006/relationships/image" Target="../media/image94.jpeg"/><Relationship Id="rId10" Type="http://schemas.openxmlformats.org/officeDocument/2006/relationships/image" Target="../media/image89.jpeg"/><Relationship Id="rId19" Type="http://schemas.openxmlformats.org/officeDocument/2006/relationships/image" Target="../media/image98.png"/><Relationship Id="rId4" Type="http://schemas.openxmlformats.org/officeDocument/2006/relationships/image" Target="../media/image83.png"/><Relationship Id="rId9" Type="http://schemas.openxmlformats.org/officeDocument/2006/relationships/image" Target="../media/image88.jpeg"/><Relationship Id="rId14" Type="http://schemas.openxmlformats.org/officeDocument/2006/relationships/image" Target="../media/image93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9.png"/><Relationship Id="rId18" Type="http://schemas.openxmlformats.org/officeDocument/2006/relationships/image" Target="../media/image114.jpg"/><Relationship Id="rId3" Type="http://schemas.openxmlformats.org/officeDocument/2006/relationships/image" Target="../media/image68.emf"/><Relationship Id="rId21" Type="http://schemas.openxmlformats.org/officeDocument/2006/relationships/image" Target="../media/image117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17" Type="http://schemas.openxmlformats.org/officeDocument/2006/relationships/image" Target="../media/image113.jpeg"/><Relationship Id="rId2" Type="http://schemas.openxmlformats.org/officeDocument/2006/relationships/notesSlide" Target="../notesSlides/notesSlide36.xml"/><Relationship Id="rId16" Type="http://schemas.openxmlformats.org/officeDocument/2006/relationships/image" Target="../media/image112.png"/><Relationship Id="rId20" Type="http://schemas.openxmlformats.org/officeDocument/2006/relationships/image" Target="../media/image116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2.jpeg"/><Relationship Id="rId11" Type="http://schemas.openxmlformats.org/officeDocument/2006/relationships/image" Target="../media/image107.png"/><Relationship Id="rId5" Type="http://schemas.openxmlformats.org/officeDocument/2006/relationships/image" Target="../media/image101.jpeg"/><Relationship Id="rId15" Type="http://schemas.openxmlformats.org/officeDocument/2006/relationships/image" Target="../media/image111.png"/><Relationship Id="rId10" Type="http://schemas.openxmlformats.org/officeDocument/2006/relationships/image" Target="../media/image106.jpeg"/><Relationship Id="rId19" Type="http://schemas.openxmlformats.org/officeDocument/2006/relationships/image" Target="../media/image115.jpg"/><Relationship Id="rId4" Type="http://schemas.openxmlformats.org/officeDocument/2006/relationships/image" Target="../media/image100.png"/><Relationship Id="rId9" Type="http://schemas.openxmlformats.org/officeDocument/2006/relationships/image" Target="../media/image105.png"/><Relationship Id="rId14" Type="http://schemas.openxmlformats.org/officeDocument/2006/relationships/image" Target="../media/image11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9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39.xml"/><Relationship Id="rId10" Type="http://schemas.openxmlformats.org/officeDocument/2006/relationships/image" Target="../media/image120.gif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37047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1" name="Freeform 39"/>
          <p:cNvSpPr>
            <a:spLocks noEditPoints="1"/>
          </p:cNvSpPr>
          <p:nvPr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636625" y="3005710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9" name="Freeform 47"/>
          <p:cNvSpPr>
            <a:spLocks noEditPoints="1"/>
          </p:cNvSpPr>
          <p:nvPr/>
        </p:nvSpPr>
        <p:spPr bwMode="auto">
          <a:xfrm>
            <a:off x="3609551" y="30057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9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6184" y="4294414"/>
            <a:ext cx="9603450" cy="387798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2800" dirty="0" smtClean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создать ситуацию успеха на уроке?</a:t>
            </a:r>
            <a:endParaRPr lang="ru-RU" sz="2800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6754482" y="3903003"/>
            <a:ext cx="5437517" cy="1465840"/>
          </a:xfrm>
          <a:prstGeom prst="rect">
            <a:avLst/>
          </a:prstGeom>
        </p:spPr>
        <p:txBody>
          <a:bodyPr wrap="square" lIns="80063" tIns="40032" rIns="80063" bIns="40032">
            <a:spAutoFit/>
          </a:bodyPr>
          <a:lstStyle/>
          <a:p>
            <a:endParaRPr lang="ru-RU" b="1" u="sng" dirty="0" smtClean="0">
              <a:solidFill>
                <a:schemeClr val="tx2"/>
              </a:solidFill>
              <a:latin typeface="Textbook New Bold"/>
              <a:cs typeface="Tahoma" pitchFamily="34" charset="0"/>
            </a:endParaRPr>
          </a:p>
          <a:p>
            <a:r>
              <a:rPr lang="ru-RU" b="1" u="sng" dirty="0" smtClean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Токарева Марина Викторовна</a:t>
            </a:r>
            <a:r>
              <a:rPr lang="ru-RU" b="1" dirty="0" smtClean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, </a:t>
            </a:r>
            <a:br>
              <a:rPr lang="ru-RU" b="1" dirty="0" smtClean="0">
                <a:solidFill>
                  <a:srgbClr val="002060"/>
                </a:solidFill>
                <a:latin typeface="Textbook New Bold"/>
                <a:cs typeface="Tahoma" pitchFamily="34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ведущий </a:t>
            </a:r>
            <a:r>
              <a:rPr lang="ru-RU" b="1" dirty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методист </a:t>
            </a:r>
            <a:r>
              <a:rPr lang="ru-RU" b="1" dirty="0" smtClean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 Центра естественно-математического образования</a:t>
            </a:r>
          </a:p>
          <a:p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61459" name="Picture 19" descr="https://1sept.ru/img/firm-style/logo_p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176" y="2631559"/>
            <a:ext cx="5112985" cy="1339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965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191731" y="1405719"/>
            <a:ext cx="10303397" cy="4599296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6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различных педагогических технологий для создания ситуации успех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50376" y="1746912"/>
            <a:ext cx="936236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/>
            <a:r>
              <a:rPr lang="ru-RU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Для создания эмоционально-комфортной среды используют следующие образовательные технологии</a:t>
            </a:r>
          </a:p>
          <a:p>
            <a:pPr indent="449580"/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•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        Личностно-ориентированные: обеспечение комфортных условий развития и реализации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возможностей 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личности.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indent="449580"/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•        Педагогика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сотрудничества.</a:t>
            </a:r>
          </a:p>
          <a:p>
            <a:pPr indent="449580"/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•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        Технология уровневой дифференциации обучения. </a:t>
            </a:r>
            <a:endParaRPr lang="ru-RU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pPr indent="449580"/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•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        Проявление гуманного отношения к детям, такие как любовь и оптимистичная вера в них, отсутствие прямого принуждения, доброжелательный и эмоциональный тон педагога, приоритет положительного стимулирования, терпимости к детским недостаткам, в сочетании с проявлениями демократизации отношений – правом ребёнка на свободный выбор, на ошибку, на собственную точку зрения – оказывают благоприятное воздействие на психику учащихся и способствуют формированию здоровой психики и, как следствие, высокого уровня психологического здоровья.</a:t>
            </a:r>
            <a:endParaRPr lang="ru-RU" sz="16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796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9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то способствует созданию ситуации успеха на уроке?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4569105" y="1368495"/>
            <a:ext cx="7104789" cy="10556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имулирование внутренней и внешней мотивации</a:t>
            </a:r>
          </a:p>
        </p:txBody>
      </p:sp>
      <p:sp>
        <p:nvSpPr>
          <p:cNvPr id="56" name="Овал 55"/>
          <p:cNvSpPr/>
          <p:nvPr/>
        </p:nvSpPr>
        <p:spPr>
          <a:xfrm>
            <a:off x="4540230" y="2581290"/>
            <a:ext cx="7104789" cy="10556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частой смены видов учебной деятельности на уроках биологии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4533306" y="3875972"/>
            <a:ext cx="7104789" cy="10556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на уроке методов, способствующих активации творчества и самовыражения учащихся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4670384" y="5184513"/>
            <a:ext cx="7104789" cy="10556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динамических пауз или минуты релаксации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4" name="Picture 17" descr="0178"/>
          <p:cNvPicPr>
            <a:picLocks noChangeAspect="1" noChangeArrowheads="1"/>
          </p:cNvPicPr>
          <p:nvPr/>
        </p:nvPicPr>
        <p:blipFill>
          <a:blip r:embed="rId7" cstate="print">
            <a:lum bright="18000"/>
          </a:blip>
          <a:srcRect/>
          <a:stretch>
            <a:fillRect/>
          </a:stretch>
        </p:blipFill>
        <p:spPr bwMode="auto">
          <a:xfrm>
            <a:off x="627797" y="1377694"/>
            <a:ext cx="2347741" cy="1170475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8440" y="3012238"/>
            <a:ext cx="2714196" cy="1528034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32" y="4931616"/>
            <a:ext cx="3049217" cy="1524609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617822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3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61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99" t="26901" r="36218" b="22701"/>
          <a:stretch>
            <a:fillRect/>
          </a:stretch>
        </p:blipFill>
        <p:spPr bwMode="auto">
          <a:xfrm>
            <a:off x="191732" y="1736970"/>
            <a:ext cx="4749830" cy="510413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1" t="27600" r="38580" b="43700"/>
          <a:stretch>
            <a:fillRect/>
          </a:stretch>
        </p:blipFill>
        <p:spPr bwMode="auto">
          <a:xfrm>
            <a:off x="5483069" y="1780248"/>
            <a:ext cx="5234451" cy="3252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15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62" b="25194"/>
          <a:stretch/>
        </p:blipFill>
        <p:spPr bwMode="auto">
          <a:xfrm>
            <a:off x="5483069" y="5465609"/>
            <a:ext cx="6594665" cy="11816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8" name="Рисунок 67" descr="C:\Users\lkoroleva\Desktop\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6141" y="895734"/>
            <a:ext cx="861524" cy="1197345"/>
          </a:xfrm>
          <a:prstGeom prst="rect">
            <a:avLst/>
          </a:prstGeom>
          <a:noFill/>
          <a:ln w="3175">
            <a:solidFill>
              <a:srgbClr val="7030A0"/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78" name="TextBox 77"/>
          <p:cNvSpPr txBox="1"/>
          <p:nvPr/>
        </p:nvSpPr>
        <p:spPr>
          <a:xfrm rot="10800000" flipH="1" flipV="1">
            <a:off x="6738425" y="5032775"/>
            <a:ext cx="6991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Серия «Внеурочная деятельность»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-109181" y="1309741"/>
            <a:ext cx="64826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». Учебник. </a:t>
            </a:r>
            <a:r>
              <a:rPr lang="ru-RU" b="1" dirty="0" smtClean="0">
                <a:solidFill>
                  <a:srgbClr val="FF0000"/>
                </a:solidFill>
              </a:rPr>
              <a:t>9 </a:t>
            </a:r>
            <a:r>
              <a:rPr lang="ru-RU" b="1" dirty="0">
                <a:solidFill>
                  <a:srgbClr val="FF0000"/>
                </a:solidFill>
              </a:rPr>
              <a:t>класс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106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3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334472" y="1233077"/>
            <a:ext cx="43600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solidFill>
                <a:srgbClr val="7030A0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2686928" y="1156504"/>
            <a:ext cx="101287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en-US" sz="2000" b="1" dirty="0" smtClean="0">
                <a:solidFill>
                  <a:srgbClr val="7030A0"/>
                </a:solidFill>
                <a:cs typeface="Times New Roman" pitchFamily="18" charset="0"/>
                <a:sym typeface="Calibri"/>
              </a:rPr>
              <a:t>I</a:t>
            </a:r>
            <a:r>
              <a:rPr lang="ru-RU" sz="2000" b="1" dirty="0" smtClean="0">
                <a:solidFill>
                  <a:srgbClr val="7030A0"/>
                </a:solidFill>
                <a:cs typeface="Times New Roman" pitchFamily="18" charset="0"/>
                <a:sym typeface="Calibri"/>
              </a:rPr>
              <a:t>V. Открытие новых знаний</a:t>
            </a:r>
            <a:endParaRPr lang="ru-RU" dirty="0">
              <a:solidFill>
                <a:srgbClr val="FFFFFF"/>
              </a:solidFill>
              <a:latin typeface="Impact" panose="020B0806030902050204" pitchFamily="34" charset="0"/>
              <a:sym typeface="Calibri"/>
            </a:endParaRPr>
          </a:p>
        </p:txBody>
      </p:sp>
      <p:pic>
        <p:nvPicPr>
          <p:cNvPr id="64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52" y="1635882"/>
            <a:ext cx="4475440" cy="50652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679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560" y="1635882"/>
            <a:ext cx="4342314" cy="50266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 rot="10800000" flipV="1">
            <a:off x="-382137" y="1217475"/>
            <a:ext cx="54591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». Учебник. 8 класс</a:t>
            </a:r>
          </a:p>
        </p:txBody>
      </p:sp>
    </p:spTree>
    <p:extLst>
      <p:ext uri="{BB962C8B-B14F-4D97-AF65-F5344CB8AC3E}">
        <p14:creationId xmlns:p14="http://schemas.microsoft.com/office/powerpoint/2010/main" val="2047951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7"/>
          <a:srcRect l="37400" t="9400" r="36219" b="29700"/>
          <a:stretch/>
        </p:blipFill>
        <p:spPr>
          <a:xfrm>
            <a:off x="682389" y="1551811"/>
            <a:ext cx="3965982" cy="5149345"/>
          </a:xfrm>
          <a:prstGeom prst="rect">
            <a:avLst/>
          </a:prstGeom>
          <a:ln>
            <a:solidFill>
              <a:srgbClr val="7030A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6" name="Прямоугольник 65"/>
          <p:cNvSpPr/>
          <p:nvPr/>
        </p:nvSpPr>
        <p:spPr>
          <a:xfrm rot="10800000" flipV="1">
            <a:off x="4334472" y="1233077"/>
            <a:ext cx="43600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solidFill>
                <a:srgbClr val="7030A0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 rot="10800000" flipV="1">
            <a:off x="-586855" y="1154425"/>
            <a:ext cx="80060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». Учебник</a:t>
            </a:r>
            <a:r>
              <a:rPr lang="ru-RU" b="1" dirty="0" smtClean="0">
                <a:solidFill>
                  <a:srgbClr val="FF0000"/>
                </a:solidFill>
              </a:rPr>
              <a:t>. 9 </a:t>
            </a:r>
            <a:r>
              <a:rPr lang="ru-RU" b="1" dirty="0">
                <a:solidFill>
                  <a:srgbClr val="FF0000"/>
                </a:solidFill>
              </a:rPr>
              <a:t>класс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8"/>
          <a:srcRect l="37794" t="15001" r="35825" b="52654"/>
          <a:stretch/>
        </p:blipFill>
        <p:spPr>
          <a:xfrm>
            <a:off x="5089055" y="1602410"/>
            <a:ext cx="4718608" cy="3252527"/>
          </a:xfrm>
          <a:prstGeom prst="rect">
            <a:avLst/>
          </a:prstGeom>
          <a:ln>
            <a:solidFill>
              <a:srgbClr val="7030A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284703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 flipH="1">
            <a:off x="-1392073" y="1156506"/>
            <a:ext cx="7626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Серия «Профильная школа»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 flipH="1">
            <a:off x="4375052" y="1498936"/>
            <a:ext cx="7670830" cy="646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7030A0"/>
                </a:solidFill>
              </a:rPr>
              <a:t>Н.В. Горбенко</a:t>
            </a:r>
          </a:p>
          <a:p>
            <a:pPr algn="ctr"/>
            <a:r>
              <a:rPr lang="ru-RU" b="1" dirty="0" smtClean="0">
                <a:solidFill>
                  <a:srgbClr val="7030A0"/>
                </a:solidFill>
              </a:rPr>
              <a:t>«Биотехнология. 10-11 классы» </a:t>
            </a:r>
            <a:endParaRPr lang="ru-RU" b="1" dirty="0">
              <a:solidFill>
                <a:srgbClr val="7030A0"/>
              </a:solidFill>
            </a:endParaRPr>
          </a:p>
        </p:txBody>
      </p: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22" y="1525838"/>
            <a:ext cx="4279900" cy="4864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425" y="2340105"/>
            <a:ext cx="3968722" cy="36700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4" name="Рисунок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4239" y="1027098"/>
            <a:ext cx="1015444" cy="13130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371" y="4659083"/>
            <a:ext cx="4318511" cy="20959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0685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3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233254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334472" y="1233077"/>
            <a:ext cx="43600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solidFill>
                <a:srgbClr val="7030A0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 rot="10800000" flipV="1">
            <a:off x="-3138985" y="1134946"/>
            <a:ext cx="12479933" cy="369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</a:t>
            </a:r>
            <a:r>
              <a:rPr lang="ru-RU" b="1" dirty="0" smtClean="0">
                <a:solidFill>
                  <a:srgbClr val="FF0000"/>
                </a:solidFill>
              </a:rPr>
              <a:t>жизни. Учебник. 10 класс. Базовый уровень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59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1" t="10800" r="33069" b="61026"/>
          <a:stretch>
            <a:fillRect/>
          </a:stretch>
        </p:blipFill>
        <p:spPr bwMode="auto">
          <a:xfrm>
            <a:off x="191732" y="1890747"/>
            <a:ext cx="5059228" cy="231327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1" t="38101" r="37006" b="40900"/>
          <a:stretch>
            <a:fillRect/>
          </a:stretch>
        </p:blipFill>
        <p:spPr bwMode="auto">
          <a:xfrm>
            <a:off x="51172" y="4401470"/>
            <a:ext cx="5552651" cy="213599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Скругленный прямоугольник 89"/>
          <p:cNvSpPr/>
          <p:nvPr/>
        </p:nvSpPr>
        <p:spPr>
          <a:xfrm>
            <a:off x="5710718" y="1719619"/>
            <a:ext cx="6196946" cy="3963730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2000" b="1" u="sng" dirty="0" smtClean="0">
                <a:solidFill>
                  <a:schemeClr val="tx1"/>
                </a:solidFill>
              </a:rPr>
              <a:t>Игра</a:t>
            </a:r>
            <a:r>
              <a:rPr lang="ru-RU" sz="2000" b="1" u="sng" dirty="0">
                <a:solidFill>
                  <a:schemeClr val="tx1"/>
                </a:solidFill>
              </a:rPr>
              <a:t>. «</a:t>
            </a:r>
            <a:r>
              <a:rPr lang="ru-RU" sz="2000" b="1" u="sng" dirty="0" smtClean="0">
                <a:solidFill>
                  <a:schemeClr val="tx1"/>
                </a:solidFill>
              </a:rPr>
              <a:t>Знаешь ли ты растения, занесённые в Красную книгу?» </a:t>
            </a: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Учитель называет разные растения,</a:t>
            </a: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а  </a:t>
            </a:r>
            <a:r>
              <a:rPr lang="ru-RU" sz="2000" dirty="0">
                <a:solidFill>
                  <a:schemeClr val="tx1"/>
                </a:solidFill>
              </a:rPr>
              <a:t>школьники выбирают из них только те, которые </a:t>
            </a:r>
            <a:r>
              <a:rPr lang="ru-RU" sz="2000" dirty="0" smtClean="0">
                <a:solidFill>
                  <a:schemeClr val="tx1"/>
                </a:solidFill>
              </a:rPr>
              <a:t>занесены в Красную книгу.</a:t>
            </a:r>
            <a:endParaRPr lang="ru-RU" sz="20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</a:rPr>
              <a:t>Список растений:  женьшень, берёза, клевер, венерин башмачок, лотос, ясень  и т.д. </a:t>
            </a:r>
          </a:p>
          <a:p>
            <a:pPr>
              <a:defRPr/>
            </a:pPr>
            <a:r>
              <a:rPr lang="ru-RU" sz="2000" b="1" u="sng" dirty="0" smtClean="0">
                <a:solidFill>
                  <a:schemeClr val="tx1"/>
                </a:solidFill>
              </a:rPr>
              <a:t>Игра «Что лишнее?»</a:t>
            </a: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Дети должны определить, какое растение является лишним </a:t>
            </a: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Пример № 1: </a:t>
            </a:r>
            <a:r>
              <a:rPr lang="ru-RU" sz="2000" dirty="0" err="1" smtClean="0">
                <a:solidFill>
                  <a:schemeClr val="tx1"/>
                </a:solidFill>
              </a:rPr>
              <a:t>риччия</a:t>
            </a:r>
            <a:r>
              <a:rPr lang="ru-RU" sz="2000" dirty="0" smtClean="0">
                <a:solidFill>
                  <a:schemeClr val="tx1"/>
                </a:solidFill>
              </a:rPr>
              <a:t>, сфагнум, кукушкин лён, хвощ полевой.</a:t>
            </a:r>
          </a:p>
          <a:p>
            <a:pPr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1" name="Picture 3" descr="C:\Users\ZGaponyuk\AppData\Local\Temp\untitl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11121634" y="730257"/>
            <a:ext cx="914631" cy="117870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0877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1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233254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334472" y="1233077"/>
            <a:ext cx="43600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solidFill>
                <a:srgbClr val="7030A0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 rot="10800000" flipV="1">
            <a:off x="-3138985" y="1134946"/>
            <a:ext cx="12479933" cy="369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</a:t>
            </a:r>
            <a:r>
              <a:rPr lang="ru-RU" b="1" dirty="0" smtClean="0">
                <a:solidFill>
                  <a:srgbClr val="FF0000"/>
                </a:solidFill>
              </a:rPr>
              <a:t>жизни. Учебник 9.  класс»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1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93" t="15700" r="35825" b="49162"/>
          <a:stretch>
            <a:fillRect/>
          </a:stretch>
        </p:blipFill>
        <p:spPr bwMode="auto">
          <a:xfrm>
            <a:off x="270359" y="1658031"/>
            <a:ext cx="4631728" cy="260229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4" t="12201" r="38582" b="59303"/>
          <a:stretch>
            <a:fillRect/>
          </a:stretch>
        </p:blipFill>
        <p:spPr bwMode="auto">
          <a:xfrm>
            <a:off x="270359" y="4424096"/>
            <a:ext cx="4705939" cy="211359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26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718" y="2071232"/>
            <a:ext cx="6169113" cy="391562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3" name="TextBox 62"/>
          <p:cNvSpPr txBox="1"/>
          <p:nvPr/>
        </p:nvSpPr>
        <p:spPr>
          <a:xfrm rot="10800000" flipH="1" flipV="1">
            <a:off x="5581934" y="1372884"/>
            <a:ext cx="6343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УМК В.И. </a:t>
            </a:r>
            <a:r>
              <a:rPr lang="ru-RU" b="1" dirty="0" err="1" smtClean="0">
                <a:solidFill>
                  <a:srgbClr val="FF0000"/>
                </a:solidFill>
              </a:rPr>
              <a:t>Сивоглазова</a:t>
            </a:r>
            <a:endParaRPr lang="ru-RU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095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61" name="TextBox 60"/>
          <p:cNvSpPr txBox="1"/>
          <p:nvPr/>
        </p:nvSpPr>
        <p:spPr>
          <a:xfrm flipH="1">
            <a:off x="-571502" y="848730"/>
            <a:ext cx="12496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УМК В.И. </a:t>
            </a:r>
            <a:r>
              <a:rPr lang="ru-RU" b="1" dirty="0" err="1" smtClean="0">
                <a:solidFill>
                  <a:srgbClr val="FF0000"/>
                </a:solidFill>
              </a:rPr>
              <a:t>Сивоглазова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pic>
        <p:nvPicPr>
          <p:cNvPr id="208902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90" y="1361167"/>
            <a:ext cx="5215624" cy="52862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8903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775" y="1361167"/>
            <a:ext cx="5578520" cy="528612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4689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8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9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4" t="43701" r="43700" b="39346"/>
          <a:stretch>
            <a:fillRect/>
          </a:stretch>
        </p:blipFill>
        <p:spPr bwMode="auto">
          <a:xfrm>
            <a:off x="6667224" y="2172221"/>
            <a:ext cx="5154554" cy="1075414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4" t="45799" r="43306" b="42432"/>
          <a:stretch>
            <a:fillRect/>
          </a:stretch>
        </p:blipFill>
        <p:spPr bwMode="auto">
          <a:xfrm>
            <a:off x="6280665" y="3636251"/>
            <a:ext cx="5599166" cy="801408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Рисунок 62" descr="C:\Users\lkoroleva\Desktop\Новая папка\1-4 (2).jpg"/>
          <p:cNvPicPr/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910123" y="801989"/>
            <a:ext cx="995487" cy="1155217"/>
          </a:xfrm>
          <a:prstGeom prst="rect">
            <a:avLst/>
          </a:prstGeom>
          <a:noFill/>
          <a:ln w="3175">
            <a:solidFill>
              <a:srgbClr val="7030A0"/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64" name="Скругленный прямоугольник 63"/>
          <p:cNvSpPr/>
          <p:nvPr/>
        </p:nvSpPr>
        <p:spPr>
          <a:xfrm>
            <a:off x="51172" y="1379597"/>
            <a:ext cx="6053387" cy="5267698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000" dirty="0" smtClean="0">
              <a:solidFill>
                <a:schemeClr val="tx1"/>
              </a:solidFill>
            </a:endParaRPr>
          </a:p>
          <a:p>
            <a:r>
              <a:rPr lang="ru-RU" sz="2000" b="1" u="sng" dirty="0" smtClean="0">
                <a:solidFill>
                  <a:schemeClr val="tx1"/>
                </a:solidFill>
              </a:rPr>
              <a:t>Шуточные вопросы по биологии</a:t>
            </a:r>
          </a:p>
          <a:p>
            <a:r>
              <a:rPr lang="ru-RU" sz="2000" dirty="0" smtClean="0">
                <a:solidFill>
                  <a:schemeClr val="tx1"/>
                </a:solidFill>
              </a:rPr>
              <a:t>1. Какой </a:t>
            </a:r>
            <a:r>
              <a:rPr lang="ru-RU" sz="2000" dirty="0">
                <a:solidFill>
                  <a:schemeClr val="tx1"/>
                </a:solidFill>
              </a:rPr>
              <a:t>овощ необходим для проверки принцесс на чистоту королевской крови?  </a:t>
            </a:r>
          </a:p>
          <a:p>
            <a:r>
              <a:rPr lang="ru-RU" sz="2000" i="1" dirty="0">
                <a:solidFill>
                  <a:schemeClr val="tx1"/>
                </a:solidFill>
              </a:rPr>
              <a:t>(Горох, горошина)</a:t>
            </a:r>
            <a:endParaRPr lang="ru-RU" sz="2000" dirty="0">
              <a:solidFill>
                <a:schemeClr val="tx1"/>
              </a:solidFill>
            </a:endParaRPr>
          </a:p>
          <a:p>
            <a:r>
              <a:rPr lang="ru-RU" sz="2000" dirty="0">
                <a:solidFill>
                  <a:schemeClr val="tx1"/>
                </a:solidFill>
              </a:rPr>
              <a:t> </a:t>
            </a:r>
            <a:r>
              <a:rPr lang="ru-RU" sz="2000" dirty="0" smtClean="0">
                <a:solidFill>
                  <a:schemeClr val="tx1"/>
                </a:solidFill>
              </a:rPr>
              <a:t>2. Какой </a:t>
            </a:r>
            <a:r>
              <a:rPr lang="ru-RU" sz="2000" dirty="0">
                <a:solidFill>
                  <a:schemeClr val="tx1"/>
                </a:solidFill>
              </a:rPr>
              <a:t>злак может расти ... на человеке?</a:t>
            </a:r>
          </a:p>
          <a:p>
            <a:r>
              <a:rPr lang="ru-RU" sz="2000" i="1" dirty="0">
                <a:solidFill>
                  <a:schemeClr val="tx1"/>
                </a:solidFill>
              </a:rPr>
              <a:t>(Ячмень, воспалённый бугорок у корней ресниц</a:t>
            </a:r>
            <a:r>
              <a:rPr lang="ru-RU" sz="2000" dirty="0">
                <a:solidFill>
                  <a:schemeClr val="tx1"/>
                </a:solidFill>
              </a:rPr>
              <a:t>.</a:t>
            </a:r>
            <a:r>
              <a:rPr lang="ru-RU" sz="2000" i="1" dirty="0">
                <a:solidFill>
                  <a:schemeClr val="tx1"/>
                </a:solidFill>
              </a:rPr>
              <a:t>)</a:t>
            </a:r>
            <a:endParaRPr lang="ru-RU" sz="2000" dirty="0">
              <a:solidFill>
                <a:schemeClr val="tx1"/>
              </a:solidFill>
            </a:endParaRPr>
          </a:p>
          <a:p>
            <a:r>
              <a:rPr lang="ru-RU" sz="2000" dirty="0" smtClean="0">
                <a:solidFill>
                  <a:schemeClr val="tx1"/>
                </a:solidFill>
              </a:rPr>
              <a:t>3.Назовите </a:t>
            </a:r>
            <a:r>
              <a:rPr lang="ru-RU" sz="2000" dirty="0">
                <a:solidFill>
                  <a:schemeClr val="tx1"/>
                </a:solidFill>
              </a:rPr>
              <a:t>животных-альпинистов.</a:t>
            </a:r>
          </a:p>
          <a:p>
            <a:r>
              <a:rPr lang="ru-RU" sz="2000" i="1" dirty="0">
                <a:solidFill>
                  <a:schemeClr val="tx1"/>
                </a:solidFill>
              </a:rPr>
              <a:t>(Горные козлы, </a:t>
            </a:r>
            <a:r>
              <a:rPr lang="ru-RU" sz="2000" i="1" dirty="0" err="1" smtClean="0">
                <a:solidFill>
                  <a:schemeClr val="tx1"/>
                </a:solidFill>
              </a:rPr>
              <a:t>геккон</a:t>
            </a:r>
            <a:r>
              <a:rPr lang="ru-RU" sz="2000" i="1" dirty="0">
                <a:solidFill>
                  <a:schemeClr val="tx1"/>
                </a:solidFill>
              </a:rPr>
              <a:t>.)</a:t>
            </a:r>
            <a:endParaRPr lang="ru-RU" sz="2000" dirty="0">
              <a:solidFill>
                <a:schemeClr val="tx1"/>
              </a:solidFill>
            </a:endParaRPr>
          </a:p>
          <a:p>
            <a:r>
              <a:rPr lang="ru-RU" sz="2000" dirty="0" smtClean="0">
                <a:solidFill>
                  <a:schemeClr val="tx1"/>
                </a:solidFill>
              </a:rPr>
              <a:t>4. </a:t>
            </a:r>
            <a:r>
              <a:rPr lang="ru-RU" sz="2000" dirty="0">
                <a:solidFill>
                  <a:schemeClr val="tx1"/>
                </a:solidFill>
              </a:rPr>
              <a:t> «Экономическая порода» собак - это...</a:t>
            </a:r>
          </a:p>
          <a:p>
            <a:r>
              <a:rPr lang="ru-RU" sz="2000" i="1" dirty="0">
                <a:solidFill>
                  <a:schemeClr val="tx1"/>
                </a:solidFill>
              </a:rPr>
              <a:t>(Такса, ведь такса - это ещё и установленная расценка.)</a:t>
            </a:r>
            <a:endParaRPr lang="ru-RU" sz="2000" dirty="0">
              <a:solidFill>
                <a:schemeClr val="tx1"/>
              </a:solidFill>
            </a:endParaRPr>
          </a:p>
          <a:p>
            <a:r>
              <a:rPr lang="ru-RU" sz="2000" dirty="0" smtClean="0">
                <a:solidFill>
                  <a:schemeClr val="tx1"/>
                </a:solidFill>
              </a:rPr>
              <a:t>5. </a:t>
            </a:r>
            <a:r>
              <a:rPr lang="ru-RU" sz="2000" dirty="0">
                <a:solidFill>
                  <a:schemeClr val="tx1"/>
                </a:solidFill>
              </a:rPr>
              <a:t> Какая дикая кошка попала в сообщество автомобилей?</a:t>
            </a:r>
          </a:p>
          <a:p>
            <a:r>
              <a:rPr lang="ru-RU" sz="2000" i="1" dirty="0">
                <a:solidFill>
                  <a:schemeClr val="tx1"/>
                </a:solidFill>
              </a:rPr>
              <a:t>(«Ягуар»)</a:t>
            </a:r>
            <a:endParaRPr lang="ru-RU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8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585583" y="3794078"/>
            <a:ext cx="6773268" cy="290707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91732" y="1569492"/>
            <a:ext cx="5144543" cy="1617053"/>
          </a:xfrm>
          <a:prstGeom prst="roundRect">
            <a:avLst/>
          </a:prstGeom>
          <a:solidFill>
            <a:srgbClr val="D8EB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Успех</a:t>
            </a:r>
            <a:r>
              <a:rPr lang="ru-RU" sz="2000" b="1" dirty="0" smtClean="0">
                <a:solidFill>
                  <a:srgbClr val="7030A0"/>
                </a:solidFill>
              </a:rPr>
              <a:t>- это переживание состояния радости, удовлетворения от того, что результат, к которому человек стремится либо совпал с его ожиданиями,</a:t>
            </a:r>
          </a:p>
          <a:p>
            <a:pPr algn="ctr"/>
            <a:r>
              <a:rPr lang="ru-RU" sz="2000" b="1" dirty="0" smtClean="0">
                <a:solidFill>
                  <a:srgbClr val="7030A0"/>
                </a:solidFill>
              </a:rPr>
              <a:t>либо превзошёл их.</a:t>
            </a:r>
            <a:endParaRPr lang="ru-RU" sz="2000" dirty="0">
              <a:solidFill>
                <a:srgbClr val="7030A0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5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место введ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3780430" y="4421875"/>
            <a:ext cx="6755642" cy="2048382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педагогической точки зрения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уация успеха –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такое целенаправленное, </a:t>
            </a:r>
          </a:p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ованное сочетание условий, </a:t>
            </a:r>
          </a:p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которых  создаётся возможность достичь </a:t>
            </a:r>
          </a:p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чительных результатов в деятельности </a:t>
            </a:r>
          </a:p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отдельно взятой личности, </a:t>
            </a:r>
          </a:p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к и коллектива в целом.</a:t>
            </a:r>
          </a:p>
          <a:p>
            <a:endParaRPr lang="ru-RU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48" y="3929945"/>
            <a:ext cx="2540313" cy="1693541"/>
          </a:xfrm>
          <a:prstGeom prst="rect">
            <a:avLst/>
          </a:prstGeom>
          <a:ln>
            <a:solidFill>
              <a:srgbClr val="7030A0"/>
            </a:solidFill>
          </a:ln>
        </p:spPr>
      </p:pic>
      <p:sp>
        <p:nvSpPr>
          <p:cNvPr id="3" name="Горизонтальный свиток 2"/>
          <p:cNvSpPr/>
          <p:nvPr/>
        </p:nvSpPr>
        <p:spPr>
          <a:xfrm>
            <a:off x="5950425" y="982640"/>
            <a:ext cx="5888418" cy="2510458"/>
          </a:xfrm>
          <a:prstGeom prst="horizontalScroll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i="1" dirty="0">
                <a:solidFill>
                  <a:schemeClr val="tx1"/>
                </a:solidFill>
              </a:rPr>
              <a:t>Успех меняет человека.</a:t>
            </a:r>
            <a:br>
              <a:rPr lang="ru-RU" i="1" dirty="0">
                <a:solidFill>
                  <a:schemeClr val="tx1"/>
                </a:solidFill>
              </a:rPr>
            </a:br>
            <a:r>
              <a:rPr lang="ru-RU" i="1" dirty="0">
                <a:solidFill>
                  <a:schemeClr val="tx1"/>
                </a:solidFill>
              </a:rPr>
              <a:t>Он делает человека уверенным в себе,</a:t>
            </a:r>
            <a:br>
              <a:rPr lang="ru-RU" i="1" dirty="0">
                <a:solidFill>
                  <a:schemeClr val="tx1"/>
                </a:solidFill>
              </a:rPr>
            </a:br>
            <a:r>
              <a:rPr lang="ru-RU" i="1" dirty="0">
                <a:solidFill>
                  <a:schemeClr val="tx1"/>
                </a:solidFill>
              </a:rPr>
              <a:t>придает ему достоинство, и </a:t>
            </a:r>
            <a:r>
              <a:rPr lang="ru-RU" i="1" dirty="0" smtClean="0">
                <a:solidFill>
                  <a:schemeClr val="tx1"/>
                </a:solidFill>
              </a:rPr>
              <a:t>человек обнаруживает</a:t>
            </a:r>
            <a:r>
              <a:rPr lang="ru-RU" i="1" dirty="0">
                <a:solidFill>
                  <a:schemeClr val="tx1"/>
                </a:solidFill>
              </a:rPr>
              <a:t/>
            </a:r>
            <a:br>
              <a:rPr lang="ru-RU" i="1" dirty="0">
                <a:solidFill>
                  <a:schemeClr val="tx1"/>
                </a:solidFill>
              </a:rPr>
            </a:br>
            <a:r>
              <a:rPr lang="ru-RU" i="1" dirty="0">
                <a:solidFill>
                  <a:schemeClr val="tx1"/>
                </a:solidFill>
              </a:rPr>
              <a:t> в себе качества, о которых не подозревал раньше.</a:t>
            </a:r>
            <a:r>
              <a:rPr lang="ru-RU" i="1" dirty="0"/>
              <a:t/>
            </a:r>
            <a:br>
              <a:rPr lang="ru-RU" i="1" dirty="0"/>
            </a:br>
            <a:r>
              <a:rPr lang="ru-RU" i="1" dirty="0">
                <a:solidFill>
                  <a:schemeClr val="tx1"/>
                </a:solidFill>
              </a:rPr>
              <a:t>Джой </a:t>
            </a:r>
            <a:r>
              <a:rPr lang="ru-RU" i="1" dirty="0" err="1">
                <a:solidFill>
                  <a:schemeClr val="tx1"/>
                </a:solidFill>
              </a:rPr>
              <a:t>Бразерс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2769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0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5" y="11805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 rot="10800000" flipV="1">
            <a:off x="5622877" y="1249240"/>
            <a:ext cx="7560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</a:t>
            </a:r>
            <a:r>
              <a:rPr lang="ru-RU" b="1" dirty="0" smtClean="0">
                <a:solidFill>
                  <a:srgbClr val="FF0000"/>
                </a:solidFill>
              </a:rPr>
              <a:t>Линия жизни». Учебник.  11 класс.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 Базовый уровень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7333" y="1906974"/>
            <a:ext cx="4635302" cy="372509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8" name="Picture 3" descr="C:\Users\ZGaponyuk\AppData\Local\Temp\untitle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11471404" y="683105"/>
            <a:ext cx="573443" cy="73901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Рисунок 77"/>
          <p:cNvPicPr>
            <a:picLocks noChangeAspect="1"/>
          </p:cNvPicPr>
          <p:nvPr/>
        </p:nvPicPr>
        <p:blipFill rotWithShape="1">
          <a:blip r:embed="rId9"/>
          <a:srcRect l="37006" t="14300" r="37794" b="26901"/>
          <a:stretch/>
        </p:blipFill>
        <p:spPr>
          <a:xfrm>
            <a:off x="1173050" y="1825749"/>
            <a:ext cx="2981066" cy="2934487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10"/>
          <a:srcRect l="37400" t="21301" r="38582" b="13601"/>
          <a:stretch/>
        </p:blipFill>
        <p:spPr>
          <a:xfrm>
            <a:off x="0" y="3769523"/>
            <a:ext cx="2346100" cy="2682631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99" y="1252629"/>
            <a:ext cx="975069" cy="1146240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59" name="Рисунок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9" t="38100" r="38580" b="23401"/>
          <a:stretch>
            <a:fillRect/>
          </a:stretch>
        </p:blipFill>
        <p:spPr bwMode="auto">
          <a:xfrm>
            <a:off x="3630606" y="3891135"/>
            <a:ext cx="3489133" cy="2863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Прямоугольник 61"/>
          <p:cNvSpPr/>
          <p:nvPr/>
        </p:nvSpPr>
        <p:spPr>
          <a:xfrm>
            <a:off x="1760561" y="1156507"/>
            <a:ext cx="55567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</a:t>
            </a:r>
            <a:r>
              <a:rPr lang="ru-RU" b="1" dirty="0" smtClean="0">
                <a:solidFill>
                  <a:srgbClr val="FF0000"/>
                </a:solidFill>
              </a:rPr>
              <a:t>под ред. В.К. Шумного, 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Г.М. Дымшица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4971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5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имулирование внутренней и внешней мотив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9726" y="837792"/>
            <a:ext cx="1062052" cy="110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8"/>
          <a:srcRect l="36619" t="38499" r="35819" b="14601"/>
          <a:stretch/>
        </p:blipFill>
        <p:spPr>
          <a:xfrm>
            <a:off x="145632" y="952505"/>
            <a:ext cx="5949781" cy="5694790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9"/>
          <a:srcRect l="36613" t="15001" r="36612" b="48600"/>
          <a:stretch/>
        </p:blipFill>
        <p:spPr>
          <a:xfrm>
            <a:off x="6373079" y="3350313"/>
            <a:ext cx="4381872" cy="3350843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2" name="Рисунок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2" t="21590" r="36218" b="44934"/>
          <a:stretch>
            <a:fillRect/>
          </a:stretch>
        </p:blipFill>
        <p:spPr bwMode="auto">
          <a:xfrm>
            <a:off x="6550500" y="786163"/>
            <a:ext cx="3466732" cy="231148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4355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7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частой смены видов деятельност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 flipH="1">
            <a:off x="-59729" y="1618798"/>
            <a:ext cx="8327701" cy="3970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980" b="1" dirty="0">
                <a:solidFill>
                  <a:srgbClr val="FF0000"/>
                </a:solidFill>
              </a:rPr>
              <a:t>УМК </a:t>
            </a:r>
            <a:r>
              <a:rPr lang="ru-RU" sz="1980" b="1" dirty="0" err="1">
                <a:solidFill>
                  <a:srgbClr val="FF0000"/>
                </a:solidFill>
              </a:rPr>
              <a:t>Сивоглазова</a:t>
            </a:r>
            <a:r>
              <a:rPr lang="ru-RU" sz="1980" b="1" dirty="0" smtClean="0">
                <a:solidFill>
                  <a:srgbClr val="FF0000"/>
                </a:solidFill>
              </a:rPr>
              <a:t>. 10 </a:t>
            </a:r>
            <a:r>
              <a:rPr lang="ru-RU" sz="1980" b="1" dirty="0">
                <a:solidFill>
                  <a:srgbClr val="FF0000"/>
                </a:solidFill>
              </a:rPr>
              <a:t>класс</a:t>
            </a:r>
          </a:p>
        </p:txBody>
      </p:sp>
      <p:pic>
        <p:nvPicPr>
          <p:cNvPr id="59" name="Рисунок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86" t="15433" r="31203" b="32323"/>
          <a:stretch>
            <a:fillRect/>
          </a:stretch>
        </p:blipFill>
        <p:spPr bwMode="auto">
          <a:xfrm>
            <a:off x="68121" y="2394968"/>
            <a:ext cx="7671308" cy="4377880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96" t="11975" r="31020" b="4732"/>
          <a:stretch>
            <a:fillRect/>
          </a:stretch>
        </p:blipFill>
        <p:spPr bwMode="auto">
          <a:xfrm>
            <a:off x="7379273" y="1189215"/>
            <a:ext cx="4812727" cy="4486479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17">
            <a:extLst>
              <a:ext uri="{FF2B5EF4-FFF2-40B4-BE49-F238E27FC236}">
                <a16:creationId xmlns="" xmlns:a16="http://schemas.microsoft.com/office/drawing/2014/main" id="{4AB6A778-73E8-429A-8A10-DF015435816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592" r="63259" b="50000"/>
          <a:stretch/>
        </p:blipFill>
        <p:spPr>
          <a:xfrm>
            <a:off x="262865" y="892825"/>
            <a:ext cx="879554" cy="1123005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44290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9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3</a:t>
            </a:fld>
            <a:endParaRPr lang="ru-RU" dirty="0"/>
          </a:p>
        </p:txBody>
      </p:sp>
      <p:pic>
        <p:nvPicPr>
          <p:cNvPr id="66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25" t="34599" r="38188" b="49300"/>
          <a:stretch>
            <a:fillRect/>
          </a:stretch>
        </p:blipFill>
        <p:spPr bwMode="auto">
          <a:xfrm>
            <a:off x="47061" y="1404316"/>
            <a:ext cx="7324975" cy="191405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Рисунок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6" t="46500" r="35431" b="44913"/>
          <a:stretch>
            <a:fillRect/>
          </a:stretch>
        </p:blipFill>
        <p:spPr bwMode="auto">
          <a:xfrm>
            <a:off x="2533969" y="3908355"/>
            <a:ext cx="9319567" cy="1225807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Прямоугольник 11"/>
          <p:cNvSpPr>
            <a:spLocks noChangeArrowheads="1"/>
          </p:cNvSpPr>
          <p:nvPr/>
        </p:nvSpPr>
        <p:spPr bwMode="auto">
          <a:xfrm rot="10800000" flipV="1">
            <a:off x="4655840" y="3612604"/>
            <a:ext cx="5769624" cy="566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539" b="1" dirty="0">
                <a:solidFill>
                  <a:srgbClr val="FF0000"/>
                </a:solidFill>
              </a:rPr>
              <a:t/>
            </a:r>
            <a:br>
              <a:rPr lang="ru-RU" altLang="ru-RU" sz="1539" b="1" dirty="0">
                <a:solidFill>
                  <a:srgbClr val="FF0000"/>
                </a:solidFill>
              </a:rPr>
            </a:br>
            <a:endParaRPr lang="ru-RU" altLang="ru-RU" sz="1539" b="1" dirty="0">
              <a:solidFill>
                <a:srgbClr val="FF0000"/>
              </a:solidFill>
              <a:latin typeface="Impact" panose="020B0806030902050204" pitchFamily="34" charset="0"/>
            </a:endParaRPr>
          </a:p>
        </p:txBody>
      </p:sp>
      <p:pic>
        <p:nvPicPr>
          <p:cNvPr id="80" name="Рисунок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9" t="37415" r="38982" b="56300"/>
          <a:stretch>
            <a:fillRect/>
          </a:stretch>
        </p:blipFill>
        <p:spPr bwMode="auto">
          <a:xfrm>
            <a:off x="2878919" y="5826019"/>
            <a:ext cx="8045345" cy="821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Прямоугольник 13"/>
          <p:cNvSpPr>
            <a:spLocks noChangeArrowheads="1"/>
          </p:cNvSpPr>
          <p:nvPr/>
        </p:nvSpPr>
        <p:spPr bwMode="auto">
          <a:xfrm rot="10800000" flipV="1">
            <a:off x="47059" y="5377675"/>
            <a:ext cx="13118708" cy="566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539" b="1" dirty="0">
                <a:solidFill>
                  <a:srgbClr val="FF0000"/>
                </a:solidFill>
              </a:rPr>
              <a:t/>
            </a:r>
            <a:br>
              <a:rPr lang="ru-RU" altLang="ru-RU" sz="1539" b="1" dirty="0">
                <a:solidFill>
                  <a:srgbClr val="FF0000"/>
                </a:solidFill>
              </a:rPr>
            </a:br>
            <a:endParaRPr lang="ru-RU" altLang="ru-RU" sz="1539" dirty="0">
              <a:solidFill>
                <a:srgbClr val="FF0000"/>
              </a:solidFill>
              <a:latin typeface="Impact" panose="020B080603090205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частой смены видов деятельност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 rot="10800000" flipV="1">
            <a:off x="4258101" y="1038316"/>
            <a:ext cx="89256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</a:t>
            </a:r>
            <a:r>
              <a:rPr lang="ru-RU" b="1" dirty="0" smtClean="0">
                <a:solidFill>
                  <a:srgbClr val="FF0000"/>
                </a:solidFill>
              </a:rPr>
              <a:t>Линия жизни». Учебник.  </a:t>
            </a:r>
            <a:r>
              <a:rPr lang="ru-RU" b="1" dirty="0">
                <a:solidFill>
                  <a:srgbClr val="FF0000"/>
                </a:solidFill>
              </a:rPr>
              <a:t>7</a:t>
            </a:r>
            <a:r>
              <a:rPr lang="ru-RU" b="1" dirty="0" smtClean="0">
                <a:solidFill>
                  <a:srgbClr val="FF0000"/>
                </a:solidFill>
              </a:rPr>
              <a:t> класс. 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 rot="10800000" flipV="1">
            <a:off x="4258101" y="3479073"/>
            <a:ext cx="89256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</a:t>
            </a:r>
            <a:r>
              <a:rPr lang="ru-RU" b="1" dirty="0" smtClean="0">
                <a:solidFill>
                  <a:srgbClr val="FF0000"/>
                </a:solidFill>
              </a:rPr>
              <a:t>Линия жизни». Рабочая тетрадь.  9 класс. 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 rot="10800000" flipV="1">
            <a:off x="2634017" y="5489864"/>
            <a:ext cx="59899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». </a:t>
            </a:r>
            <a:r>
              <a:rPr lang="ru-RU" b="1" dirty="0" smtClean="0">
                <a:solidFill>
                  <a:srgbClr val="FF0000"/>
                </a:solidFill>
              </a:rPr>
              <a:t>Учебник.  </a:t>
            </a:r>
            <a:r>
              <a:rPr lang="ru-RU" b="1" dirty="0">
                <a:solidFill>
                  <a:srgbClr val="FF0000"/>
                </a:solidFill>
              </a:rPr>
              <a:t>9 класс. </a:t>
            </a:r>
          </a:p>
        </p:txBody>
      </p:sp>
    </p:spTree>
    <p:extLst>
      <p:ext uri="{BB962C8B-B14F-4D97-AF65-F5344CB8AC3E}">
        <p14:creationId xmlns:p14="http://schemas.microsoft.com/office/powerpoint/2010/main" val="39415428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118484" y="66406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частой смены видов деятельност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1" name="Рисунок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6" t="23680" r="36218" b="30400"/>
          <a:stretch>
            <a:fillRect/>
          </a:stretch>
        </p:blipFill>
        <p:spPr bwMode="auto">
          <a:xfrm>
            <a:off x="5301422" y="1985318"/>
            <a:ext cx="6233559" cy="4510914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2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25" y="2936405"/>
            <a:ext cx="4676979" cy="2702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Box 62"/>
          <p:cNvSpPr txBox="1"/>
          <p:nvPr/>
        </p:nvSpPr>
        <p:spPr>
          <a:xfrm rot="10800000" flipH="1" flipV="1">
            <a:off x="-1457142" y="1849626"/>
            <a:ext cx="7471044" cy="3917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3103" tIns="43103" rIns="43103" bIns="43103" spcCol="38100">
            <a:spAutoFit/>
          </a:bodyPr>
          <a:lstStyle/>
          <a:p>
            <a:pPr algn="ctr">
              <a:defRPr/>
            </a:pPr>
            <a:r>
              <a:rPr lang="ru-RU" sz="1980" b="1" dirty="0">
                <a:solidFill>
                  <a:srgbClr val="FF0000"/>
                </a:solidFill>
              </a:rPr>
              <a:t>Использование ИКТ</a:t>
            </a:r>
          </a:p>
        </p:txBody>
      </p:sp>
      <p:sp>
        <p:nvSpPr>
          <p:cNvPr id="64" name="Прямоугольник 63"/>
          <p:cNvSpPr/>
          <p:nvPr/>
        </p:nvSpPr>
        <p:spPr>
          <a:xfrm rot="10800000" flipV="1">
            <a:off x="4544703" y="1040085"/>
            <a:ext cx="84616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</a:t>
            </a:r>
            <a:r>
              <a:rPr lang="ru-RU" b="1" dirty="0" smtClean="0">
                <a:solidFill>
                  <a:srgbClr val="FF0000"/>
                </a:solidFill>
              </a:rPr>
              <a:t>Линия жизни». 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Рабочая тетрадь.  9 класс. 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738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6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66705" y="883550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rot="10800000" flipH="1" flipV="1">
            <a:off x="-1857097" y="1129604"/>
            <a:ext cx="11177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191733" y="1314270"/>
            <a:ext cx="7464662" cy="4663449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1"/>
          <p:cNvSpPr>
            <a:spLocks noChangeArrowheads="1"/>
          </p:cNvSpPr>
          <p:nvPr/>
        </p:nvSpPr>
        <p:spPr bwMode="auto">
          <a:xfrm>
            <a:off x="436729" y="1498937"/>
            <a:ext cx="735614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то лучше знает млекопитающих?</a:t>
            </a:r>
            <a:endParaRPr lang="ru-RU" altLang="ru-RU" sz="24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altLang="ru-RU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игре участвуют две команды. Перед командами на столе кладут фотографии животных, которые обитают в разных средах. По сигналу учителя, учащиеся бегут к столу и по фотографии определяют  к наземным, подземным, летающим или водным относят этого представителя. Каждый из детей по конвертам с надписями среды обитания, раскладывает фотографии. За ним бегут следующие игроки. Побеждает команда, выполнившая задание первой, и без ошибок.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частой смены видов деятельност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147713" y="2142699"/>
            <a:ext cx="3759207" cy="420350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err="1" smtClean="0">
                <a:solidFill>
                  <a:schemeClr val="tx1"/>
                </a:solidFill>
              </a:rPr>
              <a:t>Метаграммы</a:t>
            </a:r>
            <a:endParaRPr lang="ru-RU" b="1" dirty="0" smtClean="0">
              <a:solidFill>
                <a:schemeClr val="tx1"/>
              </a:solidFill>
            </a:endParaRPr>
          </a:p>
          <a:p>
            <a:r>
              <a:rPr lang="ru-RU" i="1" dirty="0" smtClean="0">
                <a:solidFill>
                  <a:schemeClr val="tx1"/>
                </a:solidFill>
              </a:rPr>
              <a:t>Пример 1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С </a:t>
            </a:r>
            <a:r>
              <a:rPr lang="ru-RU" b="1" dirty="0" smtClean="0">
                <a:solidFill>
                  <a:schemeClr val="tx1"/>
                </a:solidFill>
              </a:rPr>
              <a:t>Ч</a:t>
            </a:r>
            <a:r>
              <a:rPr lang="ru-RU" dirty="0" smtClean="0">
                <a:solidFill>
                  <a:schemeClr val="tx1"/>
                </a:solidFill>
              </a:rPr>
              <a:t> над морем я летаю. 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С </a:t>
            </a:r>
            <a:r>
              <a:rPr lang="ru-RU" b="1" dirty="0" smtClean="0">
                <a:solidFill>
                  <a:schemeClr val="tx1"/>
                </a:solidFill>
              </a:rPr>
              <a:t>Г</a:t>
            </a:r>
            <a:r>
              <a:rPr lang="ru-RU" dirty="0" smtClean="0">
                <a:solidFill>
                  <a:schemeClr val="tx1"/>
                </a:solidFill>
              </a:rPr>
              <a:t> в машинах я бываю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Ответ : </a:t>
            </a:r>
            <a:r>
              <a:rPr lang="ru-RU" b="1" u="sng" dirty="0" smtClean="0">
                <a:solidFill>
                  <a:schemeClr val="tx1"/>
                </a:solidFill>
              </a:rPr>
              <a:t>ч</a:t>
            </a:r>
            <a:r>
              <a:rPr lang="ru-RU" dirty="0" smtClean="0">
                <a:solidFill>
                  <a:schemeClr val="tx1"/>
                </a:solidFill>
              </a:rPr>
              <a:t>айка-</a:t>
            </a:r>
            <a:r>
              <a:rPr lang="ru-RU" b="1" u="sng" dirty="0" smtClean="0">
                <a:solidFill>
                  <a:schemeClr val="tx1"/>
                </a:solidFill>
              </a:rPr>
              <a:t>г</a:t>
            </a:r>
            <a:r>
              <a:rPr lang="ru-RU" dirty="0" smtClean="0">
                <a:solidFill>
                  <a:schemeClr val="tx1"/>
                </a:solidFill>
              </a:rPr>
              <a:t>айка</a:t>
            </a:r>
          </a:p>
          <a:p>
            <a:r>
              <a:rPr lang="ru-RU" i="1" dirty="0" smtClean="0">
                <a:solidFill>
                  <a:schemeClr val="tx1"/>
                </a:solidFill>
              </a:rPr>
              <a:t>Пример 2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С </a:t>
            </a:r>
            <a:r>
              <a:rPr lang="ru-RU" b="1" dirty="0" smtClean="0">
                <a:solidFill>
                  <a:schemeClr val="tx1"/>
                </a:solidFill>
              </a:rPr>
              <a:t>М</a:t>
            </a:r>
            <a:r>
              <a:rPr lang="ru-RU" dirty="0" smtClean="0">
                <a:solidFill>
                  <a:schemeClr val="tx1"/>
                </a:solidFill>
              </a:rPr>
              <a:t> меня ты надеваешь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С </a:t>
            </a:r>
            <a:r>
              <a:rPr lang="ru-RU" b="1" dirty="0" smtClean="0">
                <a:solidFill>
                  <a:schemeClr val="tx1"/>
                </a:solidFill>
              </a:rPr>
              <a:t>Л</a:t>
            </a:r>
            <a:r>
              <a:rPr lang="ru-RU" dirty="0" smtClean="0">
                <a:solidFill>
                  <a:schemeClr val="tx1"/>
                </a:solidFill>
              </a:rPr>
              <a:t> собаку называешь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Ответ: </a:t>
            </a:r>
            <a:r>
              <a:rPr lang="ru-RU" b="1" u="sng" dirty="0" smtClean="0">
                <a:solidFill>
                  <a:schemeClr val="tx1"/>
                </a:solidFill>
              </a:rPr>
              <a:t>м</a:t>
            </a:r>
            <a:r>
              <a:rPr lang="ru-RU" dirty="0" smtClean="0">
                <a:solidFill>
                  <a:schemeClr val="tx1"/>
                </a:solidFill>
              </a:rPr>
              <a:t>айка-</a:t>
            </a:r>
            <a:r>
              <a:rPr lang="ru-RU" b="1" u="sng" dirty="0" smtClean="0">
                <a:solidFill>
                  <a:schemeClr val="tx1"/>
                </a:solidFill>
              </a:rPr>
              <a:t>л</a:t>
            </a:r>
            <a:r>
              <a:rPr lang="ru-RU" dirty="0" smtClean="0">
                <a:solidFill>
                  <a:schemeClr val="tx1"/>
                </a:solidFill>
              </a:rPr>
              <a:t>айка</a:t>
            </a:r>
          </a:p>
          <a:p>
            <a:r>
              <a:rPr lang="ru-RU" i="1" dirty="0" smtClean="0">
                <a:solidFill>
                  <a:schemeClr val="tx1"/>
                </a:solidFill>
              </a:rPr>
              <a:t>Пример 3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Он грызун не очень мелкий,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Ибо чуть побольше белки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А заменишь </a:t>
            </a:r>
            <a:r>
              <a:rPr lang="ru-RU" b="1" dirty="0" smtClean="0">
                <a:solidFill>
                  <a:schemeClr val="tx1"/>
                </a:solidFill>
              </a:rPr>
              <a:t>«У»</a:t>
            </a:r>
            <a:r>
              <a:rPr lang="ru-RU" dirty="0" smtClean="0">
                <a:solidFill>
                  <a:schemeClr val="tx1"/>
                </a:solidFill>
              </a:rPr>
              <a:t> на </a:t>
            </a:r>
            <a:r>
              <a:rPr lang="ru-RU" b="1" dirty="0" smtClean="0">
                <a:solidFill>
                  <a:schemeClr val="tx1"/>
                </a:solidFill>
              </a:rPr>
              <a:t>«О»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Станет круглое число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Ответ: с</a:t>
            </a:r>
            <a:r>
              <a:rPr lang="ru-RU" b="1" u="sng" dirty="0" smtClean="0">
                <a:solidFill>
                  <a:schemeClr val="tx1"/>
                </a:solidFill>
              </a:rPr>
              <a:t>у</a:t>
            </a:r>
            <a:r>
              <a:rPr lang="ru-RU" dirty="0" smtClean="0">
                <a:solidFill>
                  <a:schemeClr val="tx1"/>
                </a:solidFill>
              </a:rPr>
              <a:t>рок-с</a:t>
            </a:r>
            <a:r>
              <a:rPr lang="ru-RU" b="1" u="sng" dirty="0" smtClean="0">
                <a:solidFill>
                  <a:schemeClr val="tx1"/>
                </a:solidFill>
              </a:rPr>
              <a:t>о</a:t>
            </a:r>
            <a:r>
              <a:rPr lang="ru-RU" dirty="0" smtClean="0">
                <a:solidFill>
                  <a:schemeClr val="tx1"/>
                </a:solidFill>
              </a:rPr>
              <a:t>рок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8513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4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4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0" t="14301" r="33858" b="9399"/>
          <a:stretch>
            <a:fillRect/>
          </a:stretch>
        </p:blipFill>
        <p:spPr bwMode="auto">
          <a:xfrm>
            <a:off x="218362" y="1693103"/>
            <a:ext cx="4723065" cy="433884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18" t="45100" r="32281" b="31100"/>
          <a:stretch>
            <a:fillRect/>
          </a:stretch>
        </p:blipFill>
        <p:spPr bwMode="auto">
          <a:xfrm>
            <a:off x="1573193" y="4555354"/>
            <a:ext cx="6560871" cy="2091939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7508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760" y="1613826"/>
            <a:ext cx="4120978" cy="23487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 rot="10800000" flipV="1">
            <a:off x="218362" y="1213677"/>
            <a:ext cx="79157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</a:t>
            </a:r>
            <a:r>
              <a:rPr lang="ru-RU" b="1" dirty="0" smtClean="0">
                <a:solidFill>
                  <a:srgbClr val="FF0000"/>
                </a:solidFill>
              </a:rPr>
              <a:t>Линия жизни». Учебник.  10 класс. Базовый уровень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 rot="10800000" flipV="1">
            <a:off x="8134064" y="1216793"/>
            <a:ext cx="3823120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980" b="1" dirty="0">
                <a:solidFill>
                  <a:srgbClr val="FF0000"/>
                </a:solidFill>
              </a:rPr>
              <a:t>УМК </a:t>
            </a:r>
            <a:r>
              <a:rPr lang="ru-RU" sz="1980" b="1" dirty="0" err="1" smtClean="0">
                <a:solidFill>
                  <a:srgbClr val="FF0000"/>
                </a:solidFill>
              </a:rPr>
              <a:t>Сивоглазова</a:t>
            </a:r>
            <a:endParaRPr lang="ru-RU" sz="1980" b="1" dirty="0">
              <a:solidFill>
                <a:srgbClr val="FF0000"/>
              </a:solidFill>
            </a:endParaRPr>
          </a:p>
        </p:txBody>
      </p:sp>
      <p:pic>
        <p:nvPicPr>
          <p:cNvPr id="277520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060" y="4085828"/>
            <a:ext cx="4047001" cy="11922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55233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6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23582" y="1269207"/>
            <a:ext cx="10879122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«Внеурочная деятельность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7"/>
          <a:srcRect l="35431" t="16401" r="36613" b="22000"/>
          <a:stretch/>
        </p:blipFill>
        <p:spPr>
          <a:xfrm>
            <a:off x="240697" y="2049864"/>
            <a:ext cx="4855766" cy="4513811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8"/>
          <a:srcRect l="35825" t="24100" r="36219" b="29001"/>
          <a:stretch/>
        </p:blipFill>
        <p:spPr>
          <a:xfrm>
            <a:off x="5235800" y="2021100"/>
            <a:ext cx="6602251" cy="4672720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0663" y="802408"/>
            <a:ext cx="780144" cy="1001217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0196770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9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23582" y="1269207"/>
            <a:ext cx="10879122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«Внеурочная деятельность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0663" y="802408"/>
            <a:ext cx="780144" cy="1001217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8"/>
          <a:srcRect l="36614" t="24801" r="35824" b="41600"/>
          <a:stretch/>
        </p:blipFill>
        <p:spPr>
          <a:xfrm>
            <a:off x="240697" y="1999378"/>
            <a:ext cx="6720747" cy="3456384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80" name="Рисунок 79"/>
          <p:cNvPicPr>
            <a:picLocks noChangeAspect="1"/>
          </p:cNvPicPr>
          <p:nvPr/>
        </p:nvPicPr>
        <p:blipFill rotWithShape="1">
          <a:blip r:embed="rId9"/>
          <a:srcRect l="35038" t="68200" r="37400" b="9400"/>
          <a:stretch/>
        </p:blipFill>
        <p:spPr>
          <a:xfrm>
            <a:off x="5718657" y="4362229"/>
            <a:ext cx="6576053" cy="2254647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 rotWithShape="1">
          <a:blip r:embed="rId10"/>
          <a:srcRect l="35825" t="9401" r="36219" b="57360"/>
          <a:stretch/>
        </p:blipFill>
        <p:spPr>
          <a:xfrm>
            <a:off x="7258067" y="2108550"/>
            <a:ext cx="4371999" cy="2193020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838637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Прямоугольник 113"/>
          <p:cNvSpPr/>
          <p:nvPr/>
        </p:nvSpPr>
        <p:spPr>
          <a:xfrm>
            <a:off x="1753355" y="1029098"/>
            <a:ext cx="10435595" cy="79146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895322" y="337300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C0000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дивидуальный проект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1895322" y="1083483"/>
            <a:ext cx="9415229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НДИВИДУАЛЬНЫЙ ПРОЕКТ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— ЭТО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ТДЕЛЬНЫЙ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КУРС, КОТОРЫЙ В СООТВЕТСТВИИ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 ФГОС СРЕДНЕГО ОБЩЕГО ОБРАЗОВАНИЯ ИЗУЧАЕТСЯ В 10-11 КЛАССАХ.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4"/>
          <a:srcRect l="35431" t="17801" r="37794" b="24101"/>
          <a:stretch/>
        </p:blipFill>
        <p:spPr>
          <a:xfrm>
            <a:off x="99903" y="876620"/>
            <a:ext cx="6089310" cy="591263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5"/>
          <a:srcRect l="36613" t="37400" r="36219" b="6600"/>
          <a:stretch/>
        </p:blipFill>
        <p:spPr>
          <a:xfrm>
            <a:off x="5381045" y="937743"/>
            <a:ext cx="6451874" cy="5950737"/>
          </a:xfrm>
          <a:prstGeom prst="rect">
            <a:avLst/>
          </a:prstGeom>
        </p:spPr>
      </p:pic>
      <p:sp>
        <p:nvSpPr>
          <p:cNvPr id="109" name="object 8"/>
          <p:cNvSpPr/>
          <p:nvPr/>
        </p:nvSpPr>
        <p:spPr>
          <a:xfrm>
            <a:off x="10779742" y="79122"/>
            <a:ext cx="793103" cy="114773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9525">
            <a:solidFill>
              <a:schemeClr val="bg2">
                <a:lumMod val="90000"/>
              </a:schemeClr>
            </a:solidFill>
          </a:ln>
        </p:spPr>
        <p:txBody>
          <a:bodyPr wrap="square" lIns="0" tIns="0" rIns="0" bIns="0" rtlCol="0"/>
          <a:lstStyle/>
          <a:p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5248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900751" y="1364566"/>
            <a:ext cx="8666330" cy="2948127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5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1266092" y="1533378"/>
            <a:ext cx="760495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i="1" dirty="0">
                <a:solidFill>
                  <a:srgbClr val="002060"/>
                </a:solidFill>
              </a:rPr>
              <a:t>Современный урок – это, прежде всего урок, на котором учитель умело использует все возможности для развития личности ученика, её активного умственного роста, глубокого и осмысленного усвоения знаний, для формирования </a:t>
            </a:r>
            <a:r>
              <a:rPr lang="ru-RU" sz="2800" b="1" i="1" dirty="0" smtClean="0">
                <a:solidFill>
                  <a:srgbClr val="002060"/>
                </a:solidFill>
              </a:rPr>
              <a:t>её </a:t>
            </a:r>
            <a:r>
              <a:rPr lang="ru-RU" sz="2800" b="1" i="1" dirty="0">
                <a:solidFill>
                  <a:srgbClr val="002060"/>
                </a:solidFill>
              </a:rPr>
              <a:t>нравственных основ.</a:t>
            </a:r>
          </a:p>
        </p:txBody>
      </p:sp>
      <p:sp>
        <p:nvSpPr>
          <p:cNvPr id="2" name="Горизонтальный свиток 1"/>
          <p:cNvSpPr/>
          <p:nvPr/>
        </p:nvSpPr>
        <p:spPr>
          <a:xfrm>
            <a:off x="1146412" y="4858603"/>
            <a:ext cx="8570794" cy="996287"/>
          </a:xfrm>
          <a:prstGeom prst="horizontalScroll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i="1" dirty="0" smtClean="0">
                <a:solidFill>
                  <a:schemeClr val="tx1"/>
                </a:solidFill>
              </a:rPr>
              <a:t>«Для </a:t>
            </a:r>
            <a:r>
              <a:rPr lang="ru-RU" i="1" dirty="0">
                <a:solidFill>
                  <a:schemeClr val="tx1"/>
                </a:solidFill>
              </a:rPr>
              <a:t>того, чтобы ученик учился хорошо, нужно, чтобы он учился охотно</a:t>
            </a:r>
            <a:r>
              <a:rPr lang="ru-RU" i="1" dirty="0" smtClean="0">
                <a:solidFill>
                  <a:schemeClr val="tx1"/>
                </a:solidFill>
              </a:rPr>
              <a:t>.»</a:t>
            </a:r>
            <a:endParaRPr lang="ru-RU" dirty="0">
              <a:solidFill>
                <a:schemeClr val="tx1"/>
              </a:solidFill>
            </a:endParaRPr>
          </a:p>
          <a:p>
            <a:pPr algn="ctr"/>
            <a:r>
              <a:rPr lang="ru-RU" i="1" dirty="0" err="1">
                <a:solidFill>
                  <a:schemeClr val="tx1"/>
                </a:solidFill>
              </a:rPr>
              <a:t>Л.Н.Толстой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место введ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7482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1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0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218364" y="2088107"/>
            <a:ext cx="10869712" cy="4312693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БИОЛОГИЧЕСКИЕ  ОМОНИМЫ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  <a:p>
            <a:pPr>
              <a:defRPr/>
            </a:pP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С помощью предложенных подсказок отгадайте  </a:t>
            </a:r>
            <a:r>
              <a:rPr lang="ru-RU" sz="20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названия биологических объектов или биологические термины</a:t>
            </a: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, являющиеся многозначными словами.</a:t>
            </a:r>
            <a:endParaRPr lang="ru-RU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1.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Не только вереница или очередь, но и травянистое лекарственное растение семейства сложноцветных.</a:t>
            </a:r>
          </a:p>
          <a:p>
            <a:pPr>
              <a:defRPr/>
            </a:pP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(Череда)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2.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Не только принадлежность для соколиной охоты, но и часть корня.</a:t>
            </a:r>
          </a:p>
          <a:p>
            <a:pPr>
              <a:defRPr/>
            </a:pP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(Чехлик)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3.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Не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только единица скорости морских судов, но и участок стебля.</a:t>
            </a:r>
          </a:p>
          <a:p>
            <a:pPr>
              <a:defRPr/>
            </a:pP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(Узел)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4. Не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только начальный отдел желудка коровы, но и след от листа на побеге растения.</a:t>
            </a:r>
          </a:p>
          <a:p>
            <a:pPr>
              <a:defRPr/>
            </a:pPr>
            <a:r>
              <a:rPr lang="ru-RU" sz="2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(Рубец)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92298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23582" y="1269207"/>
            <a:ext cx="10879122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«Внеурочная деятельность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7"/>
          <a:srcRect l="3638" t="8893" r="3356" b="20063"/>
          <a:stretch/>
        </p:blipFill>
        <p:spPr>
          <a:xfrm>
            <a:off x="7183072" y="1859930"/>
            <a:ext cx="3782713" cy="1197757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2" name="Рисунок 61" descr="C:\Users\lkoroleva\Desktop\Новая папка\7-9.jpg">
            <a:extLst>
              <a:ext uri="{FF2B5EF4-FFF2-40B4-BE49-F238E27FC236}">
                <a16:creationId xmlns:a16="http://schemas.microsoft.com/office/drawing/2014/main" xmlns="" id="{023C235E-14AA-425E-BC42-1285AF1C918E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3084" y="775868"/>
            <a:ext cx="890873" cy="1314459"/>
          </a:xfrm>
          <a:prstGeom prst="rect">
            <a:avLst/>
          </a:prstGeom>
          <a:noFill/>
          <a:ln w="3175">
            <a:solidFill>
              <a:srgbClr val="7030A0"/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9"/>
          <a:srcRect l="3898" r="14869"/>
          <a:stretch/>
        </p:blipFill>
        <p:spPr>
          <a:xfrm>
            <a:off x="7700667" y="3246463"/>
            <a:ext cx="4238516" cy="3400832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10"/>
          <a:srcRect l="22439" t="46500" r="42124" b="8701"/>
          <a:stretch/>
        </p:blipFill>
        <p:spPr>
          <a:xfrm>
            <a:off x="4512273" y="4720936"/>
            <a:ext cx="3047985" cy="1625593"/>
          </a:xfrm>
          <a:prstGeom prst="rect">
            <a:avLst/>
          </a:prstGeom>
          <a:ln>
            <a:solidFill>
              <a:srgbClr val="7030A0"/>
            </a:solidFill>
          </a:ln>
        </p:spPr>
      </p:pic>
      <p:sp>
        <p:nvSpPr>
          <p:cNvPr id="66" name="TextBox 65"/>
          <p:cNvSpPr txBox="1"/>
          <p:nvPr/>
        </p:nvSpPr>
        <p:spPr>
          <a:xfrm flipH="1">
            <a:off x="5530944" y="1156507"/>
            <a:ext cx="5562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7030A0"/>
                </a:solidFill>
              </a:rPr>
              <a:t>И. Ю. Алексашина, О. И. Лагутенко </a:t>
            </a:r>
          </a:p>
          <a:p>
            <a:pPr algn="ctr"/>
            <a:r>
              <a:rPr lang="ru-RU" b="1" dirty="0" smtClean="0">
                <a:solidFill>
                  <a:srgbClr val="7030A0"/>
                </a:solidFill>
              </a:rPr>
              <a:t>«Как сохранить нашу планету? 7-9 классы </a:t>
            </a:r>
            <a:endParaRPr lang="ru-RU" b="1" dirty="0">
              <a:solidFill>
                <a:srgbClr val="7030A0"/>
              </a:solidFill>
            </a:endParaRPr>
          </a:p>
        </p:txBody>
      </p:sp>
      <p:pic>
        <p:nvPicPr>
          <p:cNvPr id="68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13" t="48714" r="35825" b="12201"/>
          <a:stretch>
            <a:fillRect/>
          </a:stretch>
        </p:blipFill>
        <p:spPr bwMode="auto">
          <a:xfrm>
            <a:off x="0" y="2458808"/>
            <a:ext cx="3092783" cy="1850642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Рисунок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4" t="28700" r="36607" b="45399"/>
          <a:stretch>
            <a:fillRect/>
          </a:stretch>
        </p:blipFill>
        <p:spPr bwMode="auto">
          <a:xfrm>
            <a:off x="150124" y="4946879"/>
            <a:ext cx="4075421" cy="1638967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Рисунок 78" descr="C:\Users\lkoroleva\Desktop\2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125" y="1321788"/>
            <a:ext cx="775417" cy="962100"/>
          </a:xfrm>
          <a:prstGeom prst="rect">
            <a:avLst/>
          </a:prstGeom>
          <a:noFill/>
          <a:ln w="3175">
            <a:solidFill>
              <a:srgbClr val="7030A0"/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0" name="Рисунок 2">
            <a:extLst>
              <a:ext uri="{FF2B5EF4-FFF2-40B4-BE49-F238E27FC236}">
                <a16:creationId xmlns="" xmlns:a16="http://schemas.microsoft.com/office/drawing/2014/main" id="{21275165-15ED-4491-A405-29B412C702BA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5" t="16402" r="37437" b="61898"/>
          <a:stretch/>
        </p:blipFill>
        <p:spPr bwMode="auto">
          <a:xfrm>
            <a:off x="3455968" y="2473743"/>
            <a:ext cx="3118953" cy="1545440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62905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1172" y="1156507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пользование методов, способствующих развитию творческих способност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9" name="Рисунок 8">
            <a:extLst>
              <a:ext uri="{FF2B5EF4-FFF2-40B4-BE49-F238E27FC236}">
                <a16:creationId xmlns="" xmlns:a16="http://schemas.microsoft.com/office/drawing/2014/main" id="{E7FF9CD8-1308-4F80-9B99-93024C3C6C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13" t="28300" r="35825" b="8000"/>
          <a:stretch>
            <a:fillRect/>
          </a:stretch>
        </p:blipFill>
        <p:spPr bwMode="auto">
          <a:xfrm>
            <a:off x="239819" y="1323833"/>
            <a:ext cx="3938142" cy="5121031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5063319" y="1473958"/>
            <a:ext cx="4162568" cy="464023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йдите биологическую неточность в стихотворении А. Фета «Бабочка»: 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 прав. Одним воздушным очертаньем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так мила.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сь бархат мой с его живым миганьем -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шь два крыла.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прашивай: откуда появилась?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да спешу?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есь на цветок я легкий опустилась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от - дышу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ШИБКА: у бабочки 4 крыла</a:t>
            </a:r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410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56256"/>
            <a:ext cx="109595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3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ирование ситуации успеха на урок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313899" y="1336430"/>
            <a:ext cx="5950423" cy="3249217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2400" b="1" dirty="0">
                <a:solidFill>
                  <a:srgbClr val="7030A0"/>
                </a:solidFill>
              </a:rPr>
              <a:t>Нетрадиционные формы уроков</a:t>
            </a:r>
            <a:endParaRPr lang="ru-RU" sz="2400" dirty="0">
              <a:solidFill>
                <a:srgbClr val="7030A0"/>
              </a:solidFill>
            </a:endParaRP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Уроки – игры</a:t>
            </a:r>
            <a:r>
              <a:rPr lang="ru-RU" sz="2400" dirty="0">
                <a:solidFill>
                  <a:schemeClr val="tx1"/>
                </a:solidFill>
              </a:rPr>
              <a:t> </a:t>
            </a: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Уроки – КВН</a:t>
            </a: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Уроки – консультации</a:t>
            </a: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Уроки – мастерские</a:t>
            </a: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Модульные уроки</a:t>
            </a: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Урок контроля и проверки знаний и умений</a:t>
            </a:r>
            <a:endParaRPr lang="ru-RU" sz="2400" dirty="0">
              <a:solidFill>
                <a:schemeClr val="tx1"/>
              </a:solidFill>
            </a:endParaRPr>
          </a:p>
          <a:p>
            <a:pPr marL="390952" indent="-390952">
              <a:buFont typeface="Arial" panose="020B0604020202020204" pitchFamily="34" charset="0"/>
              <a:buChar char="•"/>
              <a:defRPr/>
            </a:pPr>
            <a:r>
              <a:rPr lang="ru-RU" sz="2400" b="1" dirty="0">
                <a:solidFill>
                  <a:schemeClr val="tx1"/>
                </a:solidFill>
              </a:rPr>
              <a:t>Интегрированные уроки</a:t>
            </a:r>
            <a:endParaRPr lang="ru-RU" alt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8672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414" y="1433557"/>
            <a:ext cx="2497879" cy="247437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2" name="TextBox 61"/>
          <p:cNvSpPr txBox="1"/>
          <p:nvPr/>
        </p:nvSpPr>
        <p:spPr>
          <a:xfrm rot="10800000" flipV="1">
            <a:off x="7478972" y="1036524"/>
            <a:ext cx="447821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980" b="1" dirty="0">
                <a:solidFill>
                  <a:srgbClr val="FF0000"/>
                </a:solidFill>
              </a:rPr>
              <a:t>УМК </a:t>
            </a:r>
            <a:r>
              <a:rPr lang="ru-RU" sz="1980" b="1" dirty="0" err="1" smtClean="0">
                <a:solidFill>
                  <a:srgbClr val="FF0000"/>
                </a:solidFill>
              </a:rPr>
              <a:t>Сивоглазова</a:t>
            </a:r>
            <a:endParaRPr lang="ru-RU" sz="1980" b="1" dirty="0">
              <a:solidFill>
                <a:srgbClr val="FF0000"/>
              </a:solidFill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1610435" y="4735773"/>
            <a:ext cx="5868537" cy="201924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ru-RU" sz="24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</a:rPr>
              <a:t>Конкурс «Эрудитов»</a:t>
            </a:r>
          </a:p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</a:rPr>
              <a:t>Конкурс «Почему мы так говорим?»</a:t>
            </a:r>
          </a:p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</a:rPr>
              <a:t>Конкурс «Узнайте по описанию»</a:t>
            </a:r>
          </a:p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</a:rPr>
              <a:t>Конкурс «Отгадайте кроссворд»</a:t>
            </a:r>
            <a:endParaRPr lang="ru-RU" sz="2400" b="1" dirty="0">
              <a:solidFill>
                <a:schemeClr val="tx1"/>
              </a:solidFill>
            </a:endParaRPr>
          </a:p>
        </p:txBody>
      </p:sp>
      <p:pic>
        <p:nvPicPr>
          <p:cNvPr id="28672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7522" y="4176213"/>
            <a:ext cx="4042064" cy="19789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7151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436728" y="1446663"/>
            <a:ext cx="11294079" cy="3562065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tx1"/>
                </a:solidFill>
              </a:rPr>
              <a:t>Типы ситуаций успеха</a:t>
            </a:r>
            <a:endParaRPr lang="ru-RU" sz="2400" dirty="0">
              <a:solidFill>
                <a:schemeClr val="tx1"/>
              </a:solidFill>
            </a:endParaRPr>
          </a:p>
          <a:p>
            <a:r>
              <a:rPr lang="ru-RU" sz="2400" dirty="0" smtClean="0">
                <a:solidFill>
                  <a:schemeClr val="tx1"/>
                </a:solidFill>
              </a:rPr>
              <a:t>1. Неожиданная </a:t>
            </a:r>
            <a:r>
              <a:rPr lang="ru-RU" sz="2400" dirty="0">
                <a:solidFill>
                  <a:schemeClr val="tx1"/>
                </a:solidFill>
              </a:rPr>
              <a:t>радость - чувство удовлетворения от того, что результаты деятельности ученика превзошли его ожидания. </a:t>
            </a:r>
            <a:endParaRPr lang="ru-RU" sz="2400" dirty="0" smtClean="0">
              <a:solidFill>
                <a:schemeClr val="tx1"/>
              </a:solidFill>
            </a:endParaRPr>
          </a:p>
          <a:p>
            <a:r>
              <a:rPr lang="ru-RU" sz="2400" dirty="0" smtClean="0">
                <a:solidFill>
                  <a:schemeClr val="tx1"/>
                </a:solidFill>
              </a:rPr>
              <a:t>2. Общая </a:t>
            </a:r>
            <a:r>
              <a:rPr lang="ru-RU" sz="2400" dirty="0">
                <a:solidFill>
                  <a:schemeClr val="tx1"/>
                </a:solidFill>
              </a:rPr>
              <a:t>радость – это, прежде всего, эмоциональный отклик окружающих на успех члена своего коллектива. Ученик достиг нужной для себя реакции коллектива. </a:t>
            </a:r>
            <a:endParaRPr lang="ru-RU" sz="2400" dirty="0" smtClean="0">
              <a:solidFill>
                <a:schemeClr val="tx1"/>
              </a:solidFill>
            </a:endParaRPr>
          </a:p>
          <a:p>
            <a:r>
              <a:rPr lang="ru-RU" sz="2400" dirty="0" smtClean="0">
                <a:solidFill>
                  <a:schemeClr val="tx1"/>
                </a:solidFill>
              </a:rPr>
              <a:t>3. Радость </a:t>
            </a:r>
            <a:r>
              <a:rPr lang="ru-RU" sz="2400" dirty="0">
                <a:solidFill>
                  <a:schemeClr val="tx1"/>
                </a:solidFill>
              </a:rPr>
              <a:t>познания. 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2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4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место заключения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Горизонтальный свиток 1"/>
          <p:cNvSpPr/>
          <p:nvPr/>
        </p:nvSpPr>
        <p:spPr>
          <a:xfrm>
            <a:off x="2333767" y="5445457"/>
            <a:ext cx="8161361" cy="1309560"/>
          </a:xfrm>
          <a:prstGeom prst="horizontalScroll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«Успех </a:t>
            </a:r>
            <a:r>
              <a:rPr lang="ru-RU" dirty="0">
                <a:solidFill>
                  <a:schemeClr val="tx1"/>
                </a:solidFill>
              </a:rPr>
              <a:t>в учебе сегодня  </a:t>
            </a:r>
            <a:r>
              <a:rPr lang="ru-RU" dirty="0" smtClean="0">
                <a:solidFill>
                  <a:schemeClr val="tx1"/>
                </a:solidFill>
              </a:rPr>
              <a:t>влияет на успех </a:t>
            </a:r>
            <a:r>
              <a:rPr lang="ru-RU" dirty="0">
                <a:solidFill>
                  <a:schemeClr val="tx1"/>
                </a:solidFill>
              </a:rPr>
              <a:t>в дальнейшей </a:t>
            </a:r>
            <a:r>
              <a:rPr lang="ru-RU" dirty="0" smtClean="0">
                <a:solidFill>
                  <a:schemeClr val="tx1"/>
                </a:solidFill>
              </a:rPr>
              <a:t>жизни.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9735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 rot="10800000" flipV="1">
            <a:off x="1897811" y="1239361"/>
            <a:ext cx="10625995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Серия «Внеурочная деятельность»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1333968" y="1777885"/>
            <a:ext cx="2063385" cy="3243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50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циальное направление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7603776" y="1742786"/>
            <a:ext cx="2387770" cy="3243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50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культурное направление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3001047" y="4423554"/>
            <a:ext cx="4281585" cy="324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интеллектуальное</a:t>
            </a:r>
            <a:r>
              <a:rPr lang="ru-RU" sz="1508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50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правление</a:t>
            </a:r>
          </a:p>
        </p:txBody>
      </p:sp>
      <p:pic>
        <p:nvPicPr>
          <p:cNvPr id="10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543" y="5304783"/>
            <a:ext cx="1349164" cy="1073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Рисунок 103" descr="C:\Users\lkoroleva\Desktop\Новая папка\7-9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24" y="2130973"/>
            <a:ext cx="130857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05" name="Рисунок 104" descr="C:\Users\lkoroleva\Desktop\2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4164" y="2127097"/>
            <a:ext cx="1273211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06" name="Picture 3" descr="C:\Users\lmartynova\Desktop\Рисунок1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771" y="2127097"/>
            <a:ext cx="1181302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5" descr="C:\Users\lmartynova\Desktop\Презентация августовки\Успех каждого ребенка\Внеуроч_Журналистика_65-0035-01\(cover) Журналистика  8-9 кл_65-0036-0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679" y="2101714"/>
            <a:ext cx="1175312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Рисунок 107" descr="C:\Users\lkoroleva\Desktop\Новая папка\5-6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006" y="2101714"/>
            <a:ext cx="1163755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09" name="Picture 2" descr="C:\Users\lmartynova\AppData\Local\Microsoft\Windows\Temporary Internet Files\Content.Outlook\59X04JPV\траектория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3672" y="2101714"/>
            <a:ext cx="1136068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Рисунок 109"/>
          <p:cNvPicPr/>
          <p:nvPr/>
        </p:nvPicPr>
        <p:blipFill>
          <a:blip r:embed="rId11"/>
          <a:stretch>
            <a:fillRect/>
          </a:stretch>
        </p:blipFill>
        <p:spPr>
          <a:xfrm>
            <a:off x="7967640" y="3268325"/>
            <a:ext cx="130035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11" name="Рисунок 110"/>
          <p:cNvPicPr/>
          <p:nvPr/>
        </p:nvPicPr>
        <p:blipFill>
          <a:blip r:embed="rId12"/>
          <a:stretch>
            <a:fillRect/>
          </a:stretch>
        </p:blipFill>
        <p:spPr>
          <a:xfrm>
            <a:off x="9581982" y="3270709"/>
            <a:ext cx="1334302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12" name="Рисунок 111" descr="C:\Users\lkoroleva\Downloads\(cover) Исследовательские и проектные работы по химии. 5-9 классы. (Смирнова Н.Ю., Смирнов И.А.).pn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545" y="4740438"/>
            <a:ext cx="1288701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13" name="Рисунок 112" descr="C:\Users\lkoroleva\Desktop\6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312" y="4735113"/>
            <a:ext cx="123494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14" name="Рисунок 113" descr="C:\Users\lkoroleva\AppData\Local\Microsoft\Windows\Temporary Internet Files\Content.Outlook\1XYKXXU0\(cover) Реальная геометрия. 5-6 классы (Ходот Т. Г. Ходот А. Ю. Велиховская В. Л.)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837" y="4740438"/>
            <a:ext cx="1291231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115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609" y="4740438"/>
            <a:ext cx="140877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6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86" y="4713054"/>
            <a:ext cx="134921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7" name="Picture 4" descr="C:\Users\lmartynova\Desktop\Обложки\1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511" y="4733623"/>
            <a:ext cx="1344498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2" descr="C:\Users\lmartynova\Desktop\Презентация августовки\(cover) Школа волонтёра. 10-11_16-058-0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30" y="3253020"/>
            <a:ext cx="1102477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Рисунок 118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504" y="3227637"/>
            <a:ext cx="115910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120" name="Прямоугольник 119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425562" y="6247469"/>
            <a:ext cx="9588544" cy="26116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566"/>
              </a:spcAft>
            </a:pPr>
            <a:r>
              <a:rPr lang="ru-RU" sz="1697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озможности для развития каждого ребёнка. Готовое решение для учителя</a:t>
            </a:r>
          </a:p>
        </p:txBody>
      </p:sp>
    </p:spTree>
    <p:extLst>
      <p:ext uri="{BB962C8B-B14F-4D97-AF65-F5344CB8AC3E}">
        <p14:creationId xmlns:p14="http://schemas.microsoft.com/office/powerpoint/2010/main" val="3655615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 rot="10800000" flipV="1">
            <a:off x="1897811" y="1239361"/>
            <a:ext cx="10625995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Серия «Профильная школа»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240697" y="2298632"/>
            <a:ext cx="10377823" cy="1644137"/>
            <a:chOff x="295718" y="4794629"/>
            <a:chExt cx="11211564" cy="1595715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718" y="4794629"/>
              <a:ext cx="1199215" cy="1595714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2" name="Рисунок 41" descr="Y:\Полученные файлы\COVER_BIOtehnologia.jpg"/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8380" y="4794631"/>
              <a:ext cx="1199215" cy="1595712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3" name="Рисунок 42" descr="Cover_Latin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35"/>
            <a:stretch>
              <a:fillRect/>
            </a:stretch>
          </p:blipFill>
          <p:spPr bwMode="auto">
            <a:xfrm>
              <a:off x="5389526" y="4794632"/>
              <a:ext cx="1140793" cy="1595711"/>
            </a:xfrm>
            <a:prstGeom prst="rect">
              <a:avLst/>
            </a:prstGeom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01042" y="4794631"/>
              <a:ext cx="1140795" cy="1595712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5" name="Рисунок 44"/>
            <p:cNvPicPr/>
            <p:nvPr/>
          </p:nvPicPr>
          <p:blipFill>
            <a:blip r:embed="rId8"/>
            <a:stretch>
              <a:fillRect/>
            </a:stretch>
          </p:blipFill>
          <p:spPr>
            <a:xfrm>
              <a:off x="4145284" y="4794632"/>
              <a:ext cx="1140795" cy="1595712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6" name="Рисунок 45"/>
            <p:cNvPicPr/>
            <p:nvPr/>
          </p:nvPicPr>
          <p:blipFill>
            <a:blip r:embed="rId9"/>
            <a:stretch>
              <a:fillRect/>
            </a:stretch>
          </p:blipFill>
          <p:spPr>
            <a:xfrm>
              <a:off x="10366489" y="4794629"/>
              <a:ext cx="1140793" cy="1595714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7" name="Рисунок 46" descr="Cover_O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32"/>
            <a:stretch>
              <a:fillRect/>
            </a:stretch>
          </p:blipFill>
          <p:spPr bwMode="auto">
            <a:xfrm>
              <a:off x="9122246" y="4794629"/>
              <a:ext cx="1140793" cy="1595714"/>
            </a:xfrm>
            <a:prstGeom prst="rect">
              <a:avLst/>
            </a:prstGeom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3766" y="4794630"/>
              <a:ext cx="1140793" cy="1595714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878006" y="4794629"/>
              <a:ext cx="1140793" cy="1595714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</p:grpSp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1276" y="4783011"/>
            <a:ext cx="1164067" cy="1520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97" y="4783011"/>
            <a:ext cx="1153245" cy="152055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157" y="4783012"/>
            <a:ext cx="1158890" cy="152054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81" y="4755559"/>
            <a:ext cx="1164067" cy="1520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56" name="Picture 2" descr="Знакомьтесь: наш мир. Физика всего на свете.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230" y="4768235"/>
            <a:ext cx="1162860" cy="1493098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Рисунок 75">
            <a:extLst>
              <a:ext uri="{FF2B5EF4-FFF2-40B4-BE49-F238E27FC236}">
                <a16:creationId xmlns="" xmlns:a16="http://schemas.microsoft.com/office/drawing/2014/main" id="{2DD3114F-AA4A-4ECE-BA39-1FF8C7E7938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701" y="4774216"/>
            <a:ext cx="1010864" cy="148113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</p:spPr>
      </p:pic>
      <p:pic>
        <p:nvPicPr>
          <p:cNvPr id="77" name="Рисунок 76" descr="Изображение выглядит как снимок экрана, знак, улица, автобус&#10;&#10;Автоматически созданное описание">
            <a:extLst>
              <a:ext uri="{FF2B5EF4-FFF2-40B4-BE49-F238E27FC236}">
                <a16:creationId xmlns="" xmlns:a16="http://schemas.microsoft.com/office/drawing/2014/main" id="{436AD474-922B-4378-A908-C198DEFB2CC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668" y="4801386"/>
            <a:ext cx="1092594" cy="148379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</p:spPr>
      </p:pic>
      <p:pic>
        <p:nvPicPr>
          <p:cNvPr id="78" name="Рисунок 77" descr="Изображение выглядит как устройство&#10;&#10;Автоматически созданное описание">
            <a:extLst>
              <a:ext uri="{FF2B5EF4-FFF2-40B4-BE49-F238E27FC236}">
                <a16:creationId xmlns="" xmlns:a16="http://schemas.microsoft.com/office/drawing/2014/main" id="{32E020EF-66A8-43C3-94D5-886BF6A1F87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6540" y="4804446"/>
            <a:ext cx="1096617" cy="147767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</p:spPr>
      </p:pic>
      <p:pic>
        <p:nvPicPr>
          <p:cNvPr id="79" name="Picture 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4086" y="4491612"/>
            <a:ext cx="1328222" cy="1051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6870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6402" r="16531" b="5901"/>
          <a:stretch>
            <a:fillRect/>
          </a:stretch>
        </p:blipFill>
        <p:spPr bwMode="auto">
          <a:xfrm>
            <a:off x="1547078" y="196157"/>
            <a:ext cx="9844461" cy="646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78759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=""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=""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=""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=""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=""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=""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=""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8</a:t>
            </a:fld>
            <a:endParaRPr lang="ru-RU" dirty="0"/>
          </a:p>
        </p:txBody>
      </p:sp>
      <p:pic>
        <p:nvPicPr>
          <p:cNvPr id="175210" name="Picture 10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31" y="0"/>
            <a:ext cx="11936124" cy="6157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5516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</a:t>
            </a:r>
            <a:r>
              <a:rPr lang="ru-RU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9"/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718457" y="2852936"/>
            <a:ext cx="9409960" cy="2226828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spcBef>
                <a:spcPts val="534"/>
              </a:spcBef>
              <a:spcAft>
                <a:spcPts val="534"/>
              </a:spcAft>
              <a:defRPr/>
            </a:pPr>
            <a:endParaRPr lang="ru-RU" sz="2133" b="1" spc="133" dirty="0">
              <a:ln w="11430"/>
              <a:solidFill>
                <a:schemeClr val="accent1">
                  <a:lumMod val="75000"/>
                </a:schemeClr>
              </a:solidFill>
              <a:cs typeface="Times New Roman" pitchFamily="18" charset="0"/>
            </a:endParaRPr>
          </a:p>
          <a:p>
            <a:pPr algn="ctr">
              <a:spcBef>
                <a:spcPts val="534"/>
              </a:spcBef>
              <a:spcAft>
                <a:spcPts val="534"/>
              </a:spcAft>
              <a:defRPr/>
            </a:pPr>
            <a:r>
              <a:rPr lang="ru-RU" sz="2133" b="1" spc="133" dirty="0">
                <a:ln w="11430"/>
                <a:solidFill>
                  <a:srgbClr val="C00000"/>
                </a:solidFill>
                <a:cs typeface="Times New Roman" pitchFamily="18" charset="0"/>
              </a:rPr>
              <a:t>Ведущий методист редакции биологии и естествознания:</a:t>
            </a:r>
            <a:br>
              <a:rPr lang="ru-RU" sz="2133" b="1" spc="133" dirty="0">
                <a:ln w="11430"/>
                <a:solidFill>
                  <a:srgbClr val="C00000"/>
                </a:solidFill>
                <a:cs typeface="Times New Roman" pitchFamily="18" charset="0"/>
              </a:rPr>
            </a:br>
            <a:r>
              <a:rPr lang="ru-RU" sz="2133" b="1" u="sng" spc="133" dirty="0">
                <a:ln w="11430"/>
                <a:solidFill>
                  <a:srgbClr val="C00000"/>
                </a:solidFill>
                <a:cs typeface="Times New Roman" pitchFamily="18" charset="0"/>
              </a:rPr>
              <a:t>Токарева Марина Викторовна</a:t>
            </a:r>
          </a:p>
          <a:p>
            <a:pPr algn="ctr">
              <a:defRPr/>
            </a:pPr>
            <a:r>
              <a:rPr lang="ru-RU" sz="2133" b="1" spc="133" dirty="0">
                <a:ln w="11430"/>
                <a:solidFill>
                  <a:srgbClr val="C00000"/>
                </a:solidFill>
                <a:cs typeface="Times New Roman" pitchFamily="18" charset="0"/>
              </a:rPr>
              <a:t>Телефон:(495) 789-30-40, доб. 46-60;</a:t>
            </a:r>
          </a:p>
          <a:p>
            <a:pPr algn="ctr">
              <a:defRPr/>
            </a:pPr>
            <a:r>
              <a:rPr lang="ru-RU" sz="2133" b="1" spc="133" dirty="0">
                <a:ln w="11430"/>
                <a:solidFill>
                  <a:srgbClr val="C00000"/>
                </a:solidFill>
                <a:cs typeface="Times New Roman" pitchFamily="18" charset="0"/>
              </a:rPr>
              <a:t>E-mail: </a:t>
            </a:r>
            <a:r>
              <a:rPr lang="en-US" sz="2133" b="1" spc="133" dirty="0">
                <a:ln w="11430"/>
                <a:solidFill>
                  <a:srgbClr val="C00000"/>
                </a:solidFill>
                <a:cs typeface="Times New Roman" pitchFamily="18" charset="0"/>
              </a:rPr>
              <a:t>MTokareva@prosv.ru</a:t>
            </a:r>
          </a:p>
          <a:p>
            <a:pPr algn="ctr">
              <a:defRPr/>
            </a:pPr>
            <a:endParaRPr lang="en-US" sz="1956" b="1" spc="133" dirty="0">
              <a:ln w="11430"/>
              <a:solidFill>
                <a:schemeClr val="accent1">
                  <a:lumMod val="75000"/>
                </a:schemeClr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545911" y="1705970"/>
            <a:ext cx="8980226" cy="4026089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u="sng" dirty="0">
                <a:solidFill>
                  <a:schemeClr val="tx1"/>
                </a:solidFill>
              </a:rPr>
              <a:t>Переживание эмоций, связанных с успехом позволяет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</a:rPr>
              <a:t>повысить мотивацию обучения, развить познавательный интерес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</a:rPr>
              <a:t>стимулировать работоспособность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</a:rPr>
              <a:t>корректировать негативные личностные особенности: тревожность, мнительность, </a:t>
            </a:r>
            <a:r>
              <a:rPr lang="ru-RU" sz="2400" dirty="0" smtClean="0">
                <a:solidFill>
                  <a:schemeClr val="tx1"/>
                </a:solidFill>
              </a:rPr>
              <a:t>неуверенность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развивать инициативность</a:t>
            </a:r>
            <a:r>
              <a:rPr lang="ru-RU" sz="2400" dirty="0">
                <a:solidFill>
                  <a:schemeClr val="tx1"/>
                </a:solidFill>
              </a:rPr>
              <a:t>, активность, </a:t>
            </a:r>
            <a:r>
              <a:rPr lang="ru-RU" sz="2400" dirty="0" smtClean="0">
                <a:solidFill>
                  <a:schemeClr val="tx1"/>
                </a:solidFill>
              </a:rPr>
              <a:t>креативность и т.д.</a:t>
            </a:r>
            <a:endParaRPr lang="ru-RU" sz="24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</a:rPr>
              <a:t>поддерживать в коллективе благоприятную эмоциональную обстановку.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3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место введ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702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191732" y="1419368"/>
            <a:ext cx="9334405" cy="5036024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u="sng" dirty="0" smtClean="0">
                <a:solidFill>
                  <a:schemeClr val="tx1"/>
                </a:solidFill>
              </a:rPr>
              <a:t>Приёмы создания ситуации успеха</a:t>
            </a:r>
            <a:endParaRPr lang="ru-RU" sz="2400" u="sng" dirty="0">
              <a:solidFill>
                <a:schemeClr val="tx1"/>
              </a:solidFill>
            </a:endParaRPr>
          </a:p>
          <a:p>
            <a:pPr marL="457200" indent="-457200">
              <a:buAutoNum type="arabicPeriod"/>
            </a:pPr>
            <a:r>
              <a:rPr lang="ru-RU" sz="2400" dirty="0" smtClean="0">
                <a:solidFill>
                  <a:schemeClr val="tx1"/>
                </a:solidFill>
              </a:rPr>
              <a:t>Преодоление страха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«Ничего страшного…Бывает, что люди боятся…»</a:t>
            </a:r>
          </a:p>
          <a:p>
            <a:r>
              <a:rPr lang="ru-RU" sz="2400" dirty="0" smtClean="0">
                <a:solidFill>
                  <a:schemeClr val="tx1"/>
                </a:solidFill>
              </a:rPr>
              <a:t>2. Скрытая инструкция 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«Ты же помнишь, что…Ты же знаешь, что…» 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3</a:t>
            </a:r>
            <a:r>
              <a:rPr lang="ru-RU" sz="2400" dirty="0" smtClean="0">
                <a:solidFill>
                  <a:schemeClr val="tx1"/>
                </a:solidFill>
              </a:rPr>
              <a:t>. Авансирование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«У тебя всё получится…Ты всё вспомнишь…»</a:t>
            </a:r>
          </a:p>
          <a:p>
            <a:r>
              <a:rPr lang="ru-RU" sz="2400" dirty="0" smtClean="0">
                <a:solidFill>
                  <a:schemeClr val="tx1"/>
                </a:solidFill>
              </a:rPr>
              <a:t>4. Персональная исключительность</a:t>
            </a:r>
            <a:endParaRPr lang="ru-RU" sz="2400" dirty="0">
              <a:solidFill>
                <a:schemeClr val="tx1"/>
              </a:solidFill>
            </a:endParaRPr>
          </a:p>
          <a:p>
            <a:r>
              <a:rPr lang="ru-RU" sz="2400" i="1" dirty="0" smtClean="0">
                <a:solidFill>
                  <a:schemeClr val="tx1"/>
                </a:solidFill>
              </a:rPr>
              <a:t>«Только у тебя может получиться…»</a:t>
            </a:r>
          </a:p>
          <a:p>
            <a:r>
              <a:rPr lang="ru-RU" sz="2400" dirty="0" smtClean="0">
                <a:solidFill>
                  <a:schemeClr val="tx1"/>
                </a:solidFill>
              </a:rPr>
              <a:t>5. Усиление мотивации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«Нам это нужно для …»</a:t>
            </a:r>
          </a:p>
          <a:p>
            <a:r>
              <a:rPr lang="ru-RU" sz="2400" dirty="0" smtClean="0">
                <a:solidFill>
                  <a:schemeClr val="tx1"/>
                </a:solidFill>
              </a:rPr>
              <a:t>6. Высокая оценка детали</a:t>
            </a:r>
          </a:p>
          <a:p>
            <a:r>
              <a:rPr lang="ru-RU" sz="2400" i="1" dirty="0" smtClean="0">
                <a:solidFill>
                  <a:schemeClr val="tx1"/>
                </a:solidFill>
              </a:rPr>
              <a:t>«Вот это задание у тебя прекрасно выполнено..»</a:t>
            </a:r>
            <a:endParaRPr lang="ru-RU" sz="2400" i="1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место введ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359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191732" y="1296537"/>
            <a:ext cx="5903681" cy="2183642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  <a:t>Давайте улыбаться просто так,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  <a:t>Улыбки раздавать случайным людям.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  <a:t>Что б не за грош, и не за четвертак,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  <a:t>А просто так им улыбаться будем!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  <a:t/>
            </a:r>
            <a:b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ль учителя в создании ситуации успеха на уроке биологии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73206" y="3739486"/>
            <a:ext cx="1063431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стиля общения учителя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чь. </a:t>
            </a: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тонация голоса.</a:t>
            </a: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щение к ребёнку.</a:t>
            </a: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важительное отношение к собеседнику.</a:t>
            </a:r>
          </a:p>
          <a:p>
            <a:pPr marL="342900" indent="-342900">
              <a:buAutoNum type="arabicPeriod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различных приёмов для создания положительных эмоций</a:t>
            </a:r>
            <a:endParaRPr lang="ru-RU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ка на возможный успех.</a:t>
            </a: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лить ученику веру в свои возможности.</a:t>
            </a:r>
          </a:p>
          <a:p>
            <a:pPr marL="342900" indent="-342900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ффект Розенталя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9" name="Picture 4" descr="https://nashavera.com/media/publications/deti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9725" y="2753488"/>
            <a:ext cx="3393395" cy="2241698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072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682388" y="1337480"/>
            <a:ext cx="8434316" cy="3848669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AutoNum type="arabicPeriod"/>
            </a:pPr>
            <a:endParaRPr lang="ru-RU" sz="2400" dirty="0" smtClean="0">
              <a:solidFill>
                <a:schemeClr val="tx1"/>
              </a:solidFill>
            </a:endParaRPr>
          </a:p>
          <a:p>
            <a:pPr marL="457200" indent="-457200">
              <a:buAutoNum type="arabicPeriod"/>
            </a:pP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AutoNum type="arabicPeriod"/>
            </a:pPr>
            <a:r>
              <a:rPr lang="ru-RU" sz="2400" dirty="0" smtClean="0">
                <a:solidFill>
                  <a:schemeClr val="tx1"/>
                </a:solidFill>
              </a:rPr>
              <a:t>Похвала.</a:t>
            </a:r>
          </a:p>
          <a:p>
            <a:pPr marL="457200" indent="-457200">
              <a:buAutoNum type="arabicPeriod"/>
            </a:pPr>
            <a:r>
              <a:rPr lang="ru-RU" sz="2400" dirty="0" smtClean="0">
                <a:solidFill>
                  <a:schemeClr val="tx1"/>
                </a:solidFill>
              </a:rPr>
              <a:t>Раскрытие личных качеств и способностей каждого ученика.</a:t>
            </a:r>
          </a:p>
          <a:p>
            <a:pPr marL="457200" indent="-457200">
              <a:buFontTx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Использование заданий разного уровня сложности</a:t>
            </a:r>
            <a:r>
              <a:rPr lang="ru-RU" sz="2400" dirty="0" smtClean="0">
                <a:solidFill>
                  <a:schemeClr val="tx1"/>
                </a:solidFill>
              </a:rPr>
              <a:t>.</a:t>
            </a:r>
          </a:p>
          <a:p>
            <a:pPr marL="457200" indent="-457200">
              <a:buFontTx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Самостоятельный выбор заданий для выполнения на уроке. </a:t>
            </a:r>
            <a:endParaRPr lang="ru-RU" sz="2400" dirty="0" smtClean="0">
              <a:solidFill>
                <a:schemeClr val="tx1"/>
              </a:solidFill>
            </a:endParaRPr>
          </a:p>
          <a:p>
            <a:pPr marL="457200" indent="-457200">
              <a:buFontTx/>
              <a:buAutoNum type="arabicPeriod"/>
            </a:pPr>
            <a:r>
              <a:rPr lang="ru-RU" sz="2400" dirty="0" smtClean="0">
                <a:solidFill>
                  <a:schemeClr val="tx1"/>
                </a:solidFill>
              </a:rPr>
              <a:t>Подготовка портфолио каждого ученика. </a:t>
            </a:r>
          </a:p>
          <a:p>
            <a:pPr marL="457200" indent="-457200">
              <a:buFontTx/>
              <a:buAutoNum type="arabicPeriod"/>
            </a:pPr>
            <a:r>
              <a:rPr lang="ru-RU" sz="2400" dirty="0" smtClean="0">
                <a:solidFill>
                  <a:schemeClr val="tx1"/>
                </a:solidFill>
              </a:rPr>
              <a:t>Самовнушение.</a:t>
            </a: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AutoNum type="arabicPeriod"/>
            </a:pP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AutoNum type="arabicPeriod"/>
            </a:pPr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0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ирование ситуации успеха на урок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070" y="5186149"/>
            <a:ext cx="2129544" cy="15502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0904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813759" y="1364566"/>
            <a:ext cx="8330242" cy="3671667"/>
          </a:xfrm>
          <a:prstGeom prst="roundRect">
            <a:avLst/>
          </a:prstGeom>
          <a:solidFill>
            <a:srgbClr val="D8EBF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8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1266092" y="1533377"/>
            <a:ext cx="787790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i="1" dirty="0">
                <a:solidFill>
                  <a:srgbClr val="002060"/>
                </a:solidFill>
                <a:latin typeface="Calibri" charset="-52"/>
              </a:rPr>
              <a:t>Урок есть часть жизни ребенка, и проживание этой жизни должно совершаться на уровне высокой культуры.</a:t>
            </a:r>
            <a:br>
              <a:rPr lang="ru-RU" sz="2800" b="1" i="1" dirty="0">
                <a:solidFill>
                  <a:srgbClr val="002060"/>
                </a:solidFill>
                <a:latin typeface="Calibri" charset="-52"/>
              </a:rPr>
            </a:br>
            <a:r>
              <a:rPr lang="ru-RU" sz="2800" b="1" i="1" dirty="0">
                <a:solidFill>
                  <a:srgbClr val="002060"/>
                </a:solidFill>
                <a:latin typeface="Calibri" charset="-52"/>
              </a:rPr>
              <a:t>Урок – главная составная часть учебного процесса.</a:t>
            </a:r>
            <a:br>
              <a:rPr lang="ru-RU" sz="2800" b="1" i="1" dirty="0">
                <a:solidFill>
                  <a:srgbClr val="002060"/>
                </a:solidFill>
                <a:latin typeface="Calibri" charset="-52"/>
              </a:rPr>
            </a:br>
            <a:r>
              <a:rPr lang="ru-RU" sz="2800" b="1" i="1" dirty="0">
                <a:solidFill>
                  <a:srgbClr val="002060"/>
                </a:solidFill>
                <a:latin typeface="Calibri" charset="-52"/>
              </a:rPr>
              <a:t>Учебная деятельность учителя и учащегося в значительной мере </a:t>
            </a:r>
            <a:br>
              <a:rPr lang="ru-RU" sz="2800" b="1" i="1" dirty="0">
                <a:solidFill>
                  <a:srgbClr val="002060"/>
                </a:solidFill>
                <a:latin typeface="Calibri" charset="-52"/>
              </a:rPr>
            </a:br>
            <a:r>
              <a:rPr lang="ru-RU" sz="2800" b="1" i="1" dirty="0">
                <a:solidFill>
                  <a:srgbClr val="002060"/>
                </a:solidFill>
                <a:latin typeface="Calibri" charset="-52"/>
              </a:rPr>
              <a:t>сосредотачивается на уроке.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2" name="Горизонтальный свиток 1"/>
          <p:cNvSpPr/>
          <p:nvPr/>
        </p:nvSpPr>
        <p:spPr>
          <a:xfrm>
            <a:off x="689317" y="5233182"/>
            <a:ext cx="7807569" cy="1521835"/>
          </a:xfrm>
          <a:prstGeom prst="horizontalScroll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Comic Sans MS" panose="030F0702030302020204" pitchFamily="66" charset="0"/>
              </a:rPr>
              <a:t>«Многому я научился у своих учителей, еще большему – у своих товарищей, но больше всего – у своих учеников</a:t>
            </a:r>
            <a:r>
              <a:rPr lang="ru-RU" dirty="0" smtClean="0">
                <a:solidFill>
                  <a:schemeClr val="tx1"/>
                </a:solidFill>
                <a:latin typeface="Comic Sans MS" panose="030F0702030302020204" pitchFamily="66" charset="0"/>
              </a:rPr>
              <a:t>.»</a:t>
            </a:r>
            <a:endParaRPr lang="ru-RU" dirty="0">
              <a:solidFill>
                <a:schemeClr val="tx1"/>
              </a:solidFill>
              <a:latin typeface="Comic Sans MS" panose="030F0702030302020204" pitchFamily="66" charset="0"/>
            </a:endParaRPr>
          </a:p>
          <a:p>
            <a:r>
              <a:rPr lang="ru-RU" dirty="0"/>
              <a:t> </a:t>
            </a:r>
            <a:r>
              <a:rPr lang="ru-RU" dirty="0">
                <a:solidFill>
                  <a:schemeClr val="tx1"/>
                </a:solidFill>
              </a:rPr>
              <a:t>Талмуд - свод правовых и религиозно-этических положений иудаизма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760" y="4656405"/>
            <a:ext cx="2795471" cy="186726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ирование ситуации успеха на урок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643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2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2" y="133368"/>
            <a:ext cx="1115662" cy="404807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3702050" y="218916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284275"/>
              </p:ext>
            </p:extLst>
          </p:nvPr>
        </p:nvGraphicFramePr>
        <p:xfrm>
          <a:off x="423080" y="664064"/>
          <a:ext cx="11063111" cy="5859569"/>
        </p:xfrm>
        <a:graphic>
          <a:graphicData uri="http://schemas.openxmlformats.org/drawingml/2006/table">
            <a:tbl>
              <a:tblPr/>
              <a:tblGrid>
                <a:gridCol w="1828801"/>
                <a:gridCol w="3571884"/>
                <a:gridCol w="5662426"/>
              </a:tblGrid>
              <a:tr h="58299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тап урока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тоды и приемы, моделирующие ситуацию успеха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основание выбранных приёмов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771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рганизационный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странение пробелов знаний, полученных на предыдущих уроках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: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ысль, что мы все пробуем, ищем, ошибаемся, добавляет уверенности, «убирает» страх перед ошибкой, перед трудным заданием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159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верка домашнего задания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крепление пройденного и устранение ошибок в задании, выполненном самостоятельно.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оставляется возможность исправить допущенные ошибки и получить более высокую оценку за выполненную дома работу; анализ ошибок даёт возможность избежать их в дальнейшем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713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ановка целей и задач урока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вансирование 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спешного результата: «Тема трудная (лёгкая, есть сложности и т.д.), но я не сомневаюсь: у вас всё получится, вы обязательно справитесь». 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могает учителю выразить свою твёрдую убеждённость в том, что дети обязательно справятся с проставленной задачей, внушает ребёнку уверенность в свои силы и возможности. Показывается, ради чего совершается эта деятельность, кому будет от этого хорошо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3242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снение нового материала</a:t>
                      </a:r>
                      <a:endParaRPr lang="ru-RU" sz="160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обилизация активности</a:t>
                      </a:r>
                      <a:r>
                        <a:rPr lang="ru-RU" sz="16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: побуждает к выполнению различных действий, 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ети при изучении новой темы могут предлагать свои решения проблемы, высказывать свои версии, что тоже помогает снять страх перед неправильным ответом. Помогает ребёнку избежать поражения, всё достигается путём намёка, пожелания. 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771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крепление изученного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спользование ситуации «от простого к сложному». 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спешное выполнение простого задания даёт уверенность в том, что возможно успешное выполнение более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ложного</a:t>
                      </a:r>
                      <a:r>
                        <a:rPr lang="ru-RU" sz="1600" dirty="0">
                          <a:effectLst/>
                        </a:rPr>
                        <a:t/>
                      </a:r>
                      <a:br>
                        <a:rPr lang="ru-RU" sz="1600" dirty="0">
                          <a:effectLst/>
                        </a:rPr>
                      </a:br>
                      <a:endParaRPr lang="ru-RU" sz="1600" dirty="0"/>
                    </a:p>
                  </a:txBody>
                  <a:tcPr marL="24009" marR="24009" marT="14902" marB="149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15C27329-611F-412D-A937-BA525A939F0B}"/>
              </a:ext>
            </a:extLst>
          </p:cNvPr>
          <p:cNvSpPr/>
          <p:nvPr/>
        </p:nvSpPr>
        <p:spPr>
          <a:xfrm>
            <a:off x="0" y="79289"/>
            <a:ext cx="1035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ирование ситуации успеха на урок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00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64</TotalTime>
  <Words>1958</Words>
  <Application>Microsoft Office PowerPoint</Application>
  <PresentationFormat>Произвольный</PresentationFormat>
  <Paragraphs>358</Paragraphs>
  <Slides>39</Slides>
  <Notes>3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1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</cp:lastModifiedBy>
  <cp:revision>1332</cp:revision>
  <cp:lastPrinted>2021-01-11T18:41:51Z</cp:lastPrinted>
  <dcterms:created xsi:type="dcterms:W3CDTF">2018-07-24T05:59:49Z</dcterms:created>
  <dcterms:modified xsi:type="dcterms:W3CDTF">2021-02-05T18:05:15Z</dcterms:modified>
</cp:coreProperties>
</file>